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7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07" r:id="rId8"/>
    <p:sldId id="1945" r:id="rId9"/>
    <p:sldId id="1946" r:id="rId10"/>
    <p:sldId id="1947" r:id="rId11"/>
    <p:sldId id="1948" r:id="rId12"/>
    <p:sldId id="1949" r:id="rId13"/>
    <p:sldId id="1950" r:id="rId14"/>
    <p:sldId id="1951" r:id="rId15"/>
    <p:sldId id="1952" r:id="rId16"/>
    <p:sldId id="1953" r:id="rId17"/>
    <p:sldId id="1954" r:id="rId18"/>
    <p:sldId id="1955" r:id="rId19"/>
    <p:sldId id="1956" r:id="rId20"/>
    <p:sldId id="1957" r:id="rId21"/>
    <p:sldId id="1958" r:id="rId22"/>
    <p:sldId id="1959" r:id="rId23"/>
    <p:sldId id="1960" r:id="rId24"/>
    <p:sldId id="1942" r:id="rId25"/>
    <p:sldId id="1474" r:id="rId26"/>
    <p:sldId id="1481" r:id="rId27"/>
    <p:sldId id="1482" r:id="rId28"/>
    <p:sldId id="1475" r:id="rId29"/>
    <p:sldId id="1483" r:id="rId30"/>
    <p:sldId id="1923" r:id="rId31"/>
    <p:sldId id="1476" r:id="rId32"/>
    <p:sldId id="1523" r:id="rId33"/>
    <p:sldId id="1524" r:id="rId34"/>
    <p:sldId id="1595" r:id="rId35"/>
    <p:sldId id="1639" r:id="rId36"/>
    <p:sldId id="1802" r:id="rId37"/>
    <p:sldId id="1829" r:id="rId38"/>
    <p:sldId id="1823" r:id="rId39"/>
    <p:sldId id="1845" r:id="rId40"/>
    <p:sldId id="1864" r:id="rId41"/>
    <p:sldId id="1866" r:id="rId42"/>
    <p:sldId id="1886" r:id="rId43"/>
    <p:sldId id="1528" r:id="rId44"/>
    <p:sldId id="1530" r:id="rId45"/>
    <p:sldId id="1571" r:id="rId46"/>
    <p:sldId id="1572" r:id="rId47"/>
    <p:sldId id="1596" r:id="rId48"/>
    <p:sldId id="1615" r:id="rId49"/>
    <p:sldId id="1617" r:id="rId50"/>
    <p:sldId id="1641" r:id="rId51"/>
    <p:sldId id="1784" r:id="rId52"/>
    <p:sldId id="1804" r:id="rId53"/>
    <p:sldId id="1888" r:id="rId54"/>
    <p:sldId id="1592" r:id="rId55"/>
    <p:sldId id="1593" r:id="rId56"/>
  </p:sldIdLst>
  <p:sldSz cx="12192000" cy="6858000"/>
  <p:notesSz cx="6858000" cy="9144000"/>
  <p:custDataLst>
    <p:tags r:id="rId5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34E"/>
    <a:srgbClr val="FFFF00"/>
    <a:srgbClr val="E4F828"/>
    <a:srgbClr val="000000"/>
    <a:srgbClr val="0000FF"/>
    <a:srgbClr val="00FF00"/>
    <a:srgbClr val="FF9966"/>
    <a:srgbClr val="FF9933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2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G$1</c:f>
              <c:strCache>
                <c:ptCount val="84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</c:strCache>
            </c:strRef>
          </c:cat>
          <c:val>
            <c:numRef>
              <c:f>List1!$B$2:$CG$2</c:f>
              <c:numCache>
                <c:formatCode>General</c:formatCode>
                <c:ptCount val="84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4</c:v>
                </c:pt>
                <c:pt idx="79">
                  <c:v>330</c:v>
                </c:pt>
                <c:pt idx="80">
                  <c:v>89</c:v>
                </c:pt>
                <c:pt idx="81">
                  <c:v>107</c:v>
                </c:pt>
                <c:pt idx="82">
                  <c:v>105</c:v>
                </c:pt>
                <c:pt idx="83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700000000000004</c:v>
                </c:pt>
                <c:pt idx="1">
                  <c:v>8.3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B$2:$B$459</c:f>
              <c:numCache>
                <c:formatCode>General</c:formatCode>
                <c:ptCount val="45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0</c:v>
                </c:pt>
                <c:pt idx="31">
                  <c:v>160</c:v>
                </c:pt>
                <c:pt idx="32">
                  <c:v>196</c:v>
                </c:pt>
                <c:pt idx="33">
                  <c:v>250</c:v>
                </c:pt>
                <c:pt idx="34">
                  <c:v>414</c:v>
                </c:pt>
                <c:pt idx="35">
                  <c:v>496</c:v>
                </c:pt>
                <c:pt idx="36">
                  <c:v>541</c:v>
                </c:pt>
                <c:pt idx="37">
                  <c:v>619</c:v>
                </c:pt>
                <c:pt idx="38">
                  <c:v>758</c:v>
                </c:pt>
                <c:pt idx="39">
                  <c:v>788</c:v>
                </c:pt>
                <c:pt idx="40">
                  <c:v>799</c:v>
                </c:pt>
                <c:pt idx="41">
                  <c:v>937</c:v>
                </c:pt>
                <c:pt idx="42">
                  <c:v>1159</c:v>
                </c:pt>
                <c:pt idx="43">
                  <c:v>1340</c:v>
                </c:pt>
                <c:pt idx="44">
                  <c:v>1531</c:v>
                </c:pt>
                <c:pt idx="45">
                  <c:v>1737</c:v>
                </c:pt>
                <c:pt idx="46">
                  <c:v>1892</c:v>
                </c:pt>
                <c:pt idx="47">
                  <c:v>1933</c:v>
                </c:pt>
                <c:pt idx="48">
                  <c:v>2175</c:v>
                </c:pt>
                <c:pt idx="49">
                  <c:v>2375</c:v>
                </c:pt>
                <c:pt idx="50">
                  <c:v>2701</c:v>
                </c:pt>
                <c:pt idx="51">
                  <c:v>2928</c:v>
                </c:pt>
                <c:pt idx="52">
                  <c:v>3343</c:v>
                </c:pt>
                <c:pt idx="53">
                  <c:v>3570</c:v>
                </c:pt>
                <c:pt idx="54">
                  <c:v>3765</c:v>
                </c:pt>
                <c:pt idx="55">
                  <c:v>4152</c:v>
                </c:pt>
                <c:pt idx="56">
                  <c:v>4674</c:v>
                </c:pt>
                <c:pt idx="57">
                  <c:v>4934</c:v>
                </c:pt>
                <c:pt idx="58">
                  <c:v>5470</c:v>
                </c:pt>
                <c:pt idx="59">
                  <c:v>6057</c:v>
                </c:pt>
                <c:pt idx="60">
                  <c:v>6393</c:v>
                </c:pt>
                <c:pt idx="61">
                  <c:v>6605</c:v>
                </c:pt>
                <c:pt idx="62">
                  <c:v>6936</c:v>
                </c:pt>
                <c:pt idx="63">
                  <c:v>7268</c:v>
                </c:pt>
                <c:pt idx="64">
                  <c:v>7692</c:v>
                </c:pt>
                <c:pt idx="65">
                  <c:v>8225</c:v>
                </c:pt>
                <c:pt idx="66">
                  <c:v>8713</c:v>
                </c:pt>
                <c:pt idx="67">
                  <c:v>8927</c:v>
                </c:pt>
                <c:pt idx="68">
                  <c:v>9005</c:v>
                </c:pt>
                <c:pt idx="69">
                  <c:v>9207</c:v>
                </c:pt>
                <c:pt idx="70">
                  <c:v>9592</c:v>
                </c:pt>
                <c:pt idx="71">
                  <c:v>10268</c:v>
                </c:pt>
                <c:pt idx="72">
                  <c:v>10766</c:v>
                </c:pt>
                <c:pt idx="73">
                  <c:v>11247</c:v>
                </c:pt>
                <c:pt idx="74">
                  <c:v>11426</c:v>
                </c:pt>
                <c:pt idx="75">
                  <c:v>11590</c:v>
                </c:pt>
                <c:pt idx="76">
                  <c:v>11972</c:v>
                </c:pt>
                <c:pt idx="77">
                  <c:v>12109</c:v>
                </c:pt>
                <c:pt idx="78">
                  <c:v>12375</c:v>
                </c:pt>
                <c:pt idx="79">
                  <c:v>12644</c:v>
                </c:pt>
                <c:pt idx="80">
                  <c:v>12882</c:v>
                </c:pt>
                <c:pt idx="81">
                  <c:v>12976</c:v>
                </c:pt>
                <c:pt idx="82">
                  <c:v>13067</c:v>
                </c:pt>
                <c:pt idx="83">
                  <c:v>13445</c:v>
                </c:pt>
                <c:pt idx="84">
                  <c:v>13643</c:v>
                </c:pt>
                <c:pt idx="85">
                  <c:v>13767</c:v>
                </c:pt>
                <c:pt idx="86">
                  <c:v>13961</c:v>
                </c:pt>
                <c:pt idx="87">
                  <c:v>14098</c:v>
                </c:pt>
                <c:pt idx="88">
                  <c:v>14176</c:v>
                </c:pt>
                <c:pt idx="89">
                  <c:v>14204</c:v>
                </c:pt>
                <c:pt idx="90">
                  <c:v>14417</c:v>
                </c:pt>
                <c:pt idx="91">
                  <c:v>14540</c:v>
                </c:pt>
                <c:pt idx="92">
                  <c:v>14672</c:v>
                </c:pt>
                <c:pt idx="93">
                  <c:v>14800</c:v>
                </c:pt>
                <c:pt idx="94">
                  <c:v>14941</c:v>
                </c:pt>
                <c:pt idx="95">
                  <c:v>15030</c:v>
                </c:pt>
                <c:pt idx="96">
                  <c:v>15050</c:v>
                </c:pt>
                <c:pt idx="97">
                  <c:v>15192</c:v>
                </c:pt>
                <c:pt idx="98">
                  <c:v>15281</c:v>
                </c:pt>
                <c:pt idx="99">
                  <c:v>15421</c:v>
                </c:pt>
                <c:pt idx="100">
                  <c:v>15504</c:v>
                </c:pt>
                <c:pt idx="101">
                  <c:v>15733</c:v>
                </c:pt>
                <c:pt idx="102">
                  <c:v>15800</c:v>
                </c:pt>
                <c:pt idx="103">
                  <c:v>15849</c:v>
                </c:pt>
                <c:pt idx="104">
                  <c:v>15996</c:v>
                </c:pt>
                <c:pt idx="105">
                  <c:v>16129</c:v>
                </c:pt>
                <c:pt idx="106">
                  <c:v>16229</c:v>
                </c:pt>
                <c:pt idx="107">
                  <c:v>16297</c:v>
                </c:pt>
                <c:pt idx="108">
                  <c:v>16510</c:v>
                </c:pt>
                <c:pt idx="109">
                  <c:v>16571</c:v>
                </c:pt>
                <c:pt idx="110">
                  <c:v>16592</c:v>
                </c:pt>
                <c:pt idx="111">
                  <c:v>16770</c:v>
                </c:pt>
                <c:pt idx="112">
                  <c:v>16946</c:v>
                </c:pt>
                <c:pt idx="113">
                  <c:v>17068</c:v>
                </c:pt>
                <c:pt idx="114">
                  <c:v>17086</c:v>
                </c:pt>
                <c:pt idx="115">
                  <c:v>17157</c:v>
                </c:pt>
                <c:pt idx="116">
                  <c:v>17235</c:v>
                </c:pt>
                <c:pt idx="117">
                  <c:v>17333</c:v>
                </c:pt>
                <c:pt idx="118">
                  <c:v>17497</c:v>
                </c:pt>
                <c:pt idx="119">
                  <c:v>17682</c:v>
                </c:pt>
                <c:pt idx="120">
                  <c:v>17826</c:v>
                </c:pt>
                <c:pt idx="121">
                  <c:v>17959</c:v>
                </c:pt>
                <c:pt idx="122">
                  <c:v>18024</c:v>
                </c:pt>
                <c:pt idx="123">
                  <c:v>18083</c:v>
                </c:pt>
                <c:pt idx="124">
                  <c:v>18124</c:v>
                </c:pt>
                <c:pt idx="125">
                  <c:v>18393</c:v>
                </c:pt>
                <c:pt idx="126">
                  <c:v>18545</c:v>
                </c:pt>
                <c:pt idx="127">
                  <c:v>18709</c:v>
                </c:pt>
                <c:pt idx="128">
                  <c:v>18941</c:v>
                </c:pt>
                <c:pt idx="129">
                  <c:v>19126</c:v>
                </c:pt>
                <c:pt idx="130">
                  <c:v>19187</c:v>
                </c:pt>
                <c:pt idx="131">
                  <c:v>19216</c:v>
                </c:pt>
                <c:pt idx="132">
                  <c:v>19454</c:v>
                </c:pt>
                <c:pt idx="133">
                  <c:v>19580</c:v>
                </c:pt>
                <c:pt idx="134">
                  <c:v>19754</c:v>
                </c:pt>
                <c:pt idx="135">
                  <c:v>19851</c:v>
                </c:pt>
                <c:pt idx="136">
                  <c:v>19937</c:v>
                </c:pt>
                <c:pt idx="137">
                  <c:v>19972</c:v>
                </c:pt>
                <c:pt idx="138">
                  <c:v>20017</c:v>
                </c:pt>
                <c:pt idx="139">
                  <c:v>20178</c:v>
                </c:pt>
                <c:pt idx="140">
                  <c:v>20257</c:v>
                </c:pt>
                <c:pt idx="141">
                  <c:v>20403</c:v>
                </c:pt>
                <c:pt idx="142">
                  <c:v>20509</c:v>
                </c:pt>
                <c:pt idx="143">
                  <c:v>20623</c:v>
                </c:pt>
                <c:pt idx="144">
                  <c:v>20676</c:v>
                </c:pt>
                <c:pt idx="145">
                  <c:v>20700</c:v>
                </c:pt>
                <c:pt idx="146">
                  <c:v>20785</c:v>
                </c:pt>
                <c:pt idx="147">
                  <c:v>20826</c:v>
                </c:pt>
                <c:pt idx="148">
                  <c:v>20921</c:v>
                </c:pt>
                <c:pt idx="149">
                  <c:v>20987</c:v>
                </c:pt>
                <c:pt idx="150">
                  <c:v>21024</c:v>
                </c:pt>
                <c:pt idx="151">
                  <c:v>21073</c:v>
                </c:pt>
                <c:pt idx="152">
                  <c:v>21082</c:v>
                </c:pt>
                <c:pt idx="153">
                  <c:v>21187</c:v>
                </c:pt>
                <c:pt idx="154">
                  <c:v>21281</c:v>
                </c:pt>
                <c:pt idx="155">
                  <c:v>21383</c:v>
                </c:pt>
                <c:pt idx="156">
                  <c:v>21465</c:v>
                </c:pt>
                <c:pt idx="157">
                  <c:v>21549</c:v>
                </c:pt>
                <c:pt idx="158">
                  <c:v>21591</c:v>
                </c:pt>
                <c:pt idx="159">
                  <c:v>21607</c:v>
                </c:pt>
                <c:pt idx="160">
                  <c:v>21672</c:v>
                </c:pt>
                <c:pt idx="161">
                  <c:v>21738</c:v>
                </c:pt>
                <c:pt idx="162">
                  <c:v>21805</c:v>
                </c:pt>
                <c:pt idx="163">
                  <c:v>21870</c:v>
                </c:pt>
                <c:pt idx="164">
                  <c:v>21922</c:v>
                </c:pt>
                <c:pt idx="165">
                  <c:v>21930</c:v>
                </c:pt>
                <c:pt idx="166">
                  <c:v>21943</c:v>
                </c:pt>
                <c:pt idx="167">
                  <c:v>21980</c:v>
                </c:pt>
                <c:pt idx="168">
                  <c:v>21997</c:v>
                </c:pt>
                <c:pt idx="169">
                  <c:v>22027</c:v>
                </c:pt>
                <c:pt idx="170">
                  <c:v>22054</c:v>
                </c:pt>
                <c:pt idx="171">
                  <c:v>22081</c:v>
                </c:pt>
                <c:pt idx="172">
                  <c:v>22099</c:v>
                </c:pt>
                <c:pt idx="173">
                  <c:v>22104</c:v>
                </c:pt>
                <c:pt idx="174">
                  <c:v>22193</c:v>
                </c:pt>
                <c:pt idx="175">
                  <c:v>22228</c:v>
                </c:pt>
                <c:pt idx="176">
                  <c:v>22262</c:v>
                </c:pt>
                <c:pt idx="177">
                  <c:v>22308</c:v>
                </c:pt>
                <c:pt idx="178">
                  <c:v>22354</c:v>
                </c:pt>
                <c:pt idx="179">
                  <c:v>22363</c:v>
                </c:pt>
                <c:pt idx="180">
                  <c:v>22366</c:v>
                </c:pt>
                <c:pt idx="181">
                  <c:v>22444</c:v>
                </c:pt>
                <c:pt idx="182">
                  <c:v>22472</c:v>
                </c:pt>
                <c:pt idx="183">
                  <c:v>22518</c:v>
                </c:pt>
                <c:pt idx="184">
                  <c:v>22527</c:v>
                </c:pt>
                <c:pt idx="185">
                  <c:v>22549</c:v>
                </c:pt>
                <c:pt idx="186">
                  <c:v>22554</c:v>
                </c:pt>
                <c:pt idx="187">
                  <c:v>22559</c:v>
                </c:pt>
                <c:pt idx="188">
                  <c:v>22586</c:v>
                </c:pt>
                <c:pt idx="189">
                  <c:v>22659</c:v>
                </c:pt>
                <c:pt idx="190">
                  <c:v>22714</c:v>
                </c:pt>
                <c:pt idx="191">
                  <c:v>22726</c:v>
                </c:pt>
                <c:pt idx="192">
                  <c:v>22751</c:v>
                </c:pt>
                <c:pt idx="193">
                  <c:v>22760</c:v>
                </c:pt>
                <c:pt idx="194">
                  <c:v>22766</c:v>
                </c:pt>
                <c:pt idx="195">
                  <c:v>22793</c:v>
                </c:pt>
                <c:pt idx="196">
                  <c:v>22813</c:v>
                </c:pt>
                <c:pt idx="197">
                  <c:v>22820</c:v>
                </c:pt>
                <c:pt idx="198">
                  <c:v>22857</c:v>
                </c:pt>
                <c:pt idx="199">
                  <c:v>22875</c:v>
                </c:pt>
                <c:pt idx="200">
                  <c:v>22884</c:v>
                </c:pt>
                <c:pt idx="201">
                  <c:v>22888</c:v>
                </c:pt>
                <c:pt idx="202">
                  <c:v>22902</c:v>
                </c:pt>
                <c:pt idx="203">
                  <c:v>22930</c:v>
                </c:pt>
                <c:pt idx="204">
                  <c:v>22949</c:v>
                </c:pt>
                <c:pt idx="205">
                  <c:v>22980</c:v>
                </c:pt>
                <c:pt idx="206">
                  <c:v>22986</c:v>
                </c:pt>
                <c:pt idx="207">
                  <c:v>22989</c:v>
                </c:pt>
                <c:pt idx="208">
                  <c:v>22993</c:v>
                </c:pt>
                <c:pt idx="209">
                  <c:v>23014</c:v>
                </c:pt>
                <c:pt idx="210">
                  <c:v>23024</c:v>
                </c:pt>
                <c:pt idx="211">
                  <c:v>23033</c:v>
                </c:pt>
                <c:pt idx="212">
                  <c:v>23042</c:v>
                </c:pt>
                <c:pt idx="213">
                  <c:v>23045</c:v>
                </c:pt>
                <c:pt idx="214">
                  <c:v>23048</c:v>
                </c:pt>
                <c:pt idx="215">
                  <c:v>23050</c:v>
                </c:pt>
                <c:pt idx="216">
                  <c:v>23051</c:v>
                </c:pt>
                <c:pt idx="217">
                  <c:v>23056</c:v>
                </c:pt>
                <c:pt idx="218">
                  <c:v>23074</c:v>
                </c:pt>
                <c:pt idx="219">
                  <c:v>23075</c:v>
                </c:pt>
                <c:pt idx="220">
                  <c:v>23078</c:v>
                </c:pt>
                <c:pt idx="221">
                  <c:v>23079</c:v>
                </c:pt>
                <c:pt idx="222">
                  <c:v>23079</c:v>
                </c:pt>
                <c:pt idx="223">
                  <c:v>23079</c:v>
                </c:pt>
                <c:pt idx="224">
                  <c:v>23081</c:v>
                </c:pt>
                <c:pt idx="225">
                  <c:v>23082</c:v>
                </c:pt>
                <c:pt idx="226">
                  <c:v>23085</c:v>
                </c:pt>
                <c:pt idx="227">
                  <c:v>23086</c:v>
                </c:pt>
                <c:pt idx="228">
                  <c:v>23087</c:v>
                </c:pt>
                <c:pt idx="229">
                  <c:v>23088</c:v>
                </c:pt>
                <c:pt idx="230">
                  <c:v>23093</c:v>
                </c:pt>
                <c:pt idx="231">
                  <c:v>23097</c:v>
                </c:pt>
                <c:pt idx="232">
                  <c:v>23100</c:v>
                </c:pt>
                <c:pt idx="233">
                  <c:v>23109</c:v>
                </c:pt>
                <c:pt idx="234">
                  <c:v>23113</c:v>
                </c:pt>
                <c:pt idx="235">
                  <c:v>23114</c:v>
                </c:pt>
                <c:pt idx="236">
                  <c:v>23114</c:v>
                </c:pt>
                <c:pt idx="237">
                  <c:v>23115</c:v>
                </c:pt>
                <c:pt idx="238">
                  <c:v>23118</c:v>
                </c:pt>
                <c:pt idx="239">
                  <c:v>23119</c:v>
                </c:pt>
                <c:pt idx="240">
                  <c:v>23121</c:v>
                </c:pt>
                <c:pt idx="241">
                  <c:v>23122</c:v>
                </c:pt>
                <c:pt idx="242">
                  <c:v>23122</c:v>
                </c:pt>
                <c:pt idx="243">
                  <c:v>23122</c:v>
                </c:pt>
                <c:pt idx="244">
                  <c:v>23122</c:v>
                </c:pt>
                <c:pt idx="245">
                  <c:v>23122</c:v>
                </c:pt>
                <c:pt idx="246">
                  <c:v>23124</c:v>
                </c:pt>
                <c:pt idx="247">
                  <c:v>23124</c:v>
                </c:pt>
                <c:pt idx="248">
                  <c:v>23125</c:v>
                </c:pt>
                <c:pt idx="249">
                  <c:v>23125</c:v>
                </c:pt>
                <c:pt idx="250">
                  <c:v>23128</c:v>
                </c:pt>
                <c:pt idx="251">
                  <c:v>23133</c:v>
                </c:pt>
                <c:pt idx="252">
                  <c:v>23135</c:v>
                </c:pt>
                <c:pt idx="253">
                  <c:v>23135</c:v>
                </c:pt>
                <c:pt idx="254">
                  <c:v>23137</c:v>
                </c:pt>
                <c:pt idx="255">
                  <c:v>23140</c:v>
                </c:pt>
                <c:pt idx="256">
                  <c:v>23141</c:v>
                </c:pt>
                <c:pt idx="257">
                  <c:v>23141</c:v>
                </c:pt>
                <c:pt idx="258">
                  <c:v>23144</c:v>
                </c:pt>
                <c:pt idx="259">
                  <c:v>23144</c:v>
                </c:pt>
                <c:pt idx="260">
                  <c:v>23146</c:v>
                </c:pt>
                <c:pt idx="261">
                  <c:v>23146</c:v>
                </c:pt>
                <c:pt idx="262">
                  <c:v>23146</c:v>
                </c:pt>
                <c:pt idx="263">
                  <c:v>23146</c:v>
                </c:pt>
                <c:pt idx="264">
                  <c:v>23146</c:v>
                </c:pt>
                <c:pt idx="265">
                  <c:v>23148</c:v>
                </c:pt>
                <c:pt idx="266">
                  <c:v>23148</c:v>
                </c:pt>
                <c:pt idx="267">
                  <c:v>23148</c:v>
                </c:pt>
                <c:pt idx="268">
                  <c:v>23148</c:v>
                </c:pt>
                <c:pt idx="269">
                  <c:v>23148</c:v>
                </c:pt>
                <c:pt idx="270">
                  <c:v>23148</c:v>
                </c:pt>
                <c:pt idx="271">
                  <c:v>23148</c:v>
                </c:pt>
                <c:pt idx="272">
                  <c:v>23148</c:v>
                </c:pt>
                <c:pt idx="273">
                  <c:v>23148</c:v>
                </c:pt>
                <c:pt idx="274">
                  <c:v>23151</c:v>
                </c:pt>
                <c:pt idx="275">
                  <c:v>23152</c:v>
                </c:pt>
                <c:pt idx="276">
                  <c:v>23152</c:v>
                </c:pt>
                <c:pt idx="277">
                  <c:v>23152</c:v>
                </c:pt>
                <c:pt idx="278">
                  <c:v>23152</c:v>
                </c:pt>
                <c:pt idx="279">
                  <c:v>23152</c:v>
                </c:pt>
                <c:pt idx="280">
                  <c:v>23152</c:v>
                </c:pt>
                <c:pt idx="281">
                  <c:v>23152</c:v>
                </c:pt>
                <c:pt idx="282">
                  <c:v>23152</c:v>
                </c:pt>
                <c:pt idx="283">
                  <c:v>23153</c:v>
                </c:pt>
                <c:pt idx="284">
                  <c:v>23153</c:v>
                </c:pt>
                <c:pt idx="285">
                  <c:v>23153</c:v>
                </c:pt>
                <c:pt idx="286">
                  <c:v>23153</c:v>
                </c:pt>
                <c:pt idx="287">
                  <c:v>23153</c:v>
                </c:pt>
                <c:pt idx="288">
                  <c:v>23153</c:v>
                </c:pt>
                <c:pt idx="289">
                  <c:v>23154</c:v>
                </c:pt>
                <c:pt idx="290">
                  <c:v>23154</c:v>
                </c:pt>
                <c:pt idx="291">
                  <c:v>23154</c:v>
                </c:pt>
                <c:pt idx="292">
                  <c:v>23154</c:v>
                </c:pt>
                <c:pt idx="293">
                  <c:v>23154</c:v>
                </c:pt>
                <c:pt idx="294">
                  <c:v>23154</c:v>
                </c:pt>
                <c:pt idx="295">
                  <c:v>23155</c:v>
                </c:pt>
                <c:pt idx="296">
                  <c:v>23156</c:v>
                </c:pt>
                <c:pt idx="297">
                  <c:v>23156</c:v>
                </c:pt>
                <c:pt idx="298">
                  <c:v>23156</c:v>
                </c:pt>
                <c:pt idx="299">
                  <c:v>23156</c:v>
                </c:pt>
                <c:pt idx="300">
                  <c:v>23156</c:v>
                </c:pt>
                <c:pt idx="301">
                  <c:v>23156</c:v>
                </c:pt>
                <c:pt idx="302">
                  <c:v>23156</c:v>
                </c:pt>
                <c:pt idx="303">
                  <c:v>23157</c:v>
                </c:pt>
                <c:pt idx="304">
                  <c:v>23157</c:v>
                </c:pt>
                <c:pt idx="305">
                  <c:v>23157</c:v>
                </c:pt>
                <c:pt idx="306">
                  <c:v>23158</c:v>
                </c:pt>
                <c:pt idx="307">
                  <c:v>23158</c:v>
                </c:pt>
                <c:pt idx="308">
                  <c:v>23158</c:v>
                </c:pt>
                <c:pt idx="309">
                  <c:v>23158</c:v>
                </c:pt>
                <c:pt idx="310">
                  <c:v>23159</c:v>
                </c:pt>
                <c:pt idx="311">
                  <c:v>23159</c:v>
                </c:pt>
                <c:pt idx="312">
                  <c:v>23159</c:v>
                </c:pt>
                <c:pt idx="313">
                  <c:v>23159</c:v>
                </c:pt>
                <c:pt idx="314">
                  <c:v>23159</c:v>
                </c:pt>
                <c:pt idx="315">
                  <c:v>23159</c:v>
                </c:pt>
                <c:pt idx="316">
                  <c:v>23159</c:v>
                </c:pt>
                <c:pt idx="317">
                  <c:v>23159</c:v>
                </c:pt>
                <c:pt idx="318">
                  <c:v>23159</c:v>
                </c:pt>
                <c:pt idx="319">
                  <c:v>23159</c:v>
                </c:pt>
                <c:pt idx="320">
                  <c:v>23159</c:v>
                </c:pt>
                <c:pt idx="321">
                  <c:v>23159</c:v>
                </c:pt>
                <c:pt idx="322">
                  <c:v>23159</c:v>
                </c:pt>
                <c:pt idx="323">
                  <c:v>23159</c:v>
                </c:pt>
                <c:pt idx="324">
                  <c:v>23159</c:v>
                </c:pt>
                <c:pt idx="325">
                  <c:v>23159</c:v>
                </c:pt>
                <c:pt idx="326">
                  <c:v>23160</c:v>
                </c:pt>
                <c:pt idx="327">
                  <c:v>23160</c:v>
                </c:pt>
                <c:pt idx="328">
                  <c:v>23160</c:v>
                </c:pt>
                <c:pt idx="329">
                  <c:v>23160</c:v>
                </c:pt>
                <c:pt idx="330">
                  <c:v>23160</c:v>
                </c:pt>
                <c:pt idx="331">
                  <c:v>23160</c:v>
                </c:pt>
                <c:pt idx="332">
                  <c:v>23160</c:v>
                </c:pt>
                <c:pt idx="333">
                  <c:v>23160</c:v>
                </c:pt>
                <c:pt idx="334">
                  <c:v>23160</c:v>
                </c:pt>
                <c:pt idx="335">
                  <c:v>23160</c:v>
                </c:pt>
                <c:pt idx="336">
                  <c:v>23160</c:v>
                </c:pt>
                <c:pt idx="337">
                  <c:v>23160</c:v>
                </c:pt>
                <c:pt idx="338">
                  <c:v>23160</c:v>
                </c:pt>
                <c:pt idx="339">
                  <c:v>23160</c:v>
                </c:pt>
                <c:pt idx="340">
                  <c:v>23160</c:v>
                </c:pt>
                <c:pt idx="341">
                  <c:v>23160</c:v>
                </c:pt>
                <c:pt idx="342">
                  <c:v>23160</c:v>
                </c:pt>
                <c:pt idx="343">
                  <c:v>23160</c:v>
                </c:pt>
                <c:pt idx="344">
                  <c:v>23160</c:v>
                </c:pt>
                <c:pt idx="345">
                  <c:v>23160</c:v>
                </c:pt>
                <c:pt idx="346">
                  <c:v>23160</c:v>
                </c:pt>
                <c:pt idx="347">
                  <c:v>23160</c:v>
                </c:pt>
                <c:pt idx="348">
                  <c:v>23160</c:v>
                </c:pt>
                <c:pt idx="349">
                  <c:v>23161</c:v>
                </c:pt>
                <c:pt idx="350">
                  <c:v>23162</c:v>
                </c:pt>
                <c:pt idx="351">
                  <c:v>23162</c:v>
                </c:pt>
                <c:pt idx="352">
                  <c:v>23163</c:v>
                </c:pt>
                <c:pt idx="353">
                  <c:v>23163</c:v>
                </c:pt>
                <c:pt idx="354">
                  <c:v>23163</c:v>
                </c:pt>
                <c:pt idx="355">
                  <c:v>23163</c:v>
                </c:pt>
                <c:pt idx="356">
                  <c:v>23165</c:v>
                </c:pt>
                <c:pt idx="357">
                  <c:v>23165</c:v>
                </c:pt>
                <c:pt idx="358">
                  <c:v>23165</c:v>
                </c:pt>
                <c:pt idx="359">
                  <c:v>23165</c:v>
                </c:pt>
                <c:pt idx="360">
                  <c:v>23165</c:v>
                </c:pt>
                <c:pt idx="361">
                  <c:v>23165</c:v>
                </c:pt>
                <c:pt idx="362">
                  <c:v>23165</c:v>
                </c:pt>
                <c:pt idx="363">
                  <c:v>23165</c:v>
                </c:pt>
                <c:pt idx="364">
                  <c:v>23165</c:v>
                </c:pt>
                <c:pt idx="365">
                  <c:v>23166</c:v>
                </c:pt>
                <c:pt idx="366">
                  <c:v>23170</c:v>
                </c:pt>
                <c:pt idx="367">
                  <c:v>23172</c:v>
                </c:pt>
                <c:pt idx="368">
                  <c:v>23173</c:v>
                </c:pt>
                <c:pt idx="369">
                  <c:v>23173</c:v>
                </c:pt>
                <c:pt idx="370">
                  <c:v>23177</c:v>
                </c:pt>
                <c:pt idx="371">
                  <c:v>23177</c:v>
                </c:pt>
                <c:pt idx="372">
                  <c:v>23177</c:v>
                </c:pt>
                <c:pt idx="373">
                  <c:v>23178</c:v>
                </c:pt>
                <c:pt idx="374">
                  <c:v>23178</c:v>
                </c:pt>
                <c:pt idx="375">
                  <c:v>23178</c:v>
                </c:pt>
                <c:pt idx="376">
                  <c:v>23178</c:v>
                </c:pt>
                <c:pt idx="377">
                  <c:v>23179</c:v>
                </c:pt>
                <c:pt idx="378">
                  <c:v>23179</c:v>
                </c:pt>
                <c:pt idx="379">
                  <c:v>23179</c:v>
                </c:pt>
                <c:pt idx="380">
                  <c:v>23179</c:v>
                </c:pt>
                <c:pt idx="381">
                  <c:v>23179</c:v>
                </c:pt>
                <c:pt idx="382">
                  <c:v>23179</c:v>
                </c:pt>
                <c:pt idx="383">
                  <c:v>23179</c:v>
                </c:pt>
                <c:pt idx="384">
                  <c:v>23180</c:v>
                </c:pt>
                <c:pt idx="385">
                  <c:v>23183</c:v>
                </c:pt>
                <c:pt idx="386">
                  <c:v>23184</c:v>
                </c:pt>
                <c:pt idx="387">
                  <c:v>23184</c:v>
                </c:pt>
                <c:pt idx="388">
                  <c:v>23184</c:v>
                </c:pt>
                <c:pt idx="389">
                  <c:v>23184</c:v>
                </c:pt>
                <c:pt idx="390">
                  <c:v>23184</c:v>
                </c:pt>
                <c:pt idx="391">
                  <c:v>23186</c:v>
                </c:pt>
                <c:pt idx="392">
                  <c:v>23186</c:v>
                </c:pt>
                <c:pt idx="393">
                  <c:v>23187</c:v>
                </c:pt>
                <c:pt idx="394">
                  <c:v>23187</c:v>
                </c:pt>
                <c:pt idx="395">
                  <c:v>23188</c:v>
                </c:pt>
                <c:pt idx="396">
                  <c:v>23189</c:v>
                </c:pt>
                <c:pt idx="397">
                  <c:v>23190</c:v>
                </c:pt>
                <c:pt idx="398">
                  <c:v>23192</c:v>
                </c:pt>
                <c:pt idx="399">
                  <c:v>23194</c:v>
                </c:pt>
                <c:pt idx="400">
                  <c:v>23205</c:v>
                </c:pt>
                <c:pt idx="401">
                  <c:v>23207</c:v>
                </c:pt>
                <c:pt idx="402">
                  <c:v>23232</c:v>
                </c:pt>
                <c:pt idx="403">
                  <c:v>23233</c:v>
                </c:pt>
                <c:pt idx="404">
                  <c:v>23233</c:v>
                </c:pt>
                <c:pt idx="405">
                  <c:v>23234</c:v>
                </c:pt>
                <c:pt idx="406">
                  <c:v>23234</c:v>
                </c:pt>
                <c:pt idx="407">
                  <c:v>23254</c:v>
                </c:pt>
                <c:pt idx="408">
                  <c:v>23257</c:v>
                </c:pt>
                <c:pt idx="409">
                  <c:v>23259</c:v>
                </c:pt>
                <c:pt idx="410">
                  <c:v>23259</c:v>
                </c:pt>
                <c:pt idx="411">
                  <c:v>23259</c:v>
                </c:pt>
                <c:pt idx="412">
                  <c:v>23265</c:v>
                </c:pt>
                <c:pt idx="413">
                  <c:v>23269</c:v>
                </c:pt>
                <c:pt idx="414">
                  <c:v>23273</c:v>
                </c:pt>
                <c:pt idx="415">
                  <c:v>23275</c:v>
                </c:pt>
                <c:pt idx="416">
                  <c:v>23280</c:v>
                </c:pt>
                <c:pt idx="417">
                  <c:v>23281</c:v>
                </c:pt>
                <c:pt idx="418">
                  <c:v>23282</c:v>
                </c:pt>
                <c:pt idx="419">
                  <c:v>23296</c:v>
                </c:pt>
                <c:pt idx="420">
                  <c:v>23305</c:v>
                </c:pt>
                <c:pt idx="421">
                  <c:v>23315</c:v>
                </c:pt>
                <c:pt idx="422">
                  <c:v>23315</c:v>
                </c:pt>
                <c:pt idx="423">
                  <c:v>23333</c:v>
                </c:pt>
                <c:pt idx="424">
                  <c:v>23340</c:v>
                </c:pt>
                <c:pt idx="425">
                  <c:v>23351</c:v>
                </c:pt>
                <c:pt idx="426">
                  <c:v>23386</c:v>
                </c:pt>
                <c:pt idx="427">
                  <c:v>23399</c:v>
                </c:pt>
                <c:pt idx="428">
                  <c:v>23415</c:v>
                </c:pt>
                <c:pt idx="429">
                  <c:v>23463</c:v>
                </c:pt>
                <c:pt idx="430">
                  <c:v>23486</c:v>
                </c:pt>
                <c:pt idx="431">
                  <c:v>23492</c:v>
                </c:pt>
                <c:pt idx="432">
                  <c:v>23497</c:v>
                </c:pt>
                <c:pt idx="433">
                  <c:v>23527</c:v>
                </c:pt>
                <c:pt idx="434">
                  <c:v>23556</c:v>
                </c:pt>
                <c:pt idx="435">
                  <c:v>23571</c:v>
                </c:pt>
                <c:pt idx="436">
                  <c:v>23588</c:v>
                </c:pt>
                <c:pt idx="437">
                  <c:v>23605</c:v>
                </c:pt>
                <c:pt idx="438">
                  <c:v>23618</c:v>
                </c:pt>
                <c:pt idx="439">
                  <c:v>23630</c:v>
                </c:pt>
                <c:pt idx="440">
                  <c:v>23671</c:v>
                </c:pt>
                <c:pt idx="441">
                  <c:v>23697</c:v>
                </c:pt>
                <c:pt idx="442">
                  <c:v>23726</c:v>
                </c:pt>
                <c:pt idx="443">
                  <c:v>23785</c:v>
                </c:pt>
                <c:pt idx="444">
                  <c:v>23878</c:v>
                </c:pt>
                <c:pt idx="445">
                  <c:v>23901</c:v>
                </c:pt>
                <c:pt idx="446">
                  <c:v>23915</c:v>
                </c:pt>
                <c:pt idx="447">
                  <c:v>23953</c:v>
                </c:pt>
                <c:pt idx="448">
                  <c:v>23978</c:v>
                </c:pt>
                <c:pt idx="449">
                  <c:v>24014</c:v>
                </c:pt>
                <c:pt idx="450">
                  <c:v>24051</c:v>
                </c:pt>
                <c:pt idx="451">
                  <c:v>24102</c:v>
                </c:pt>
                <c:pt idx="452">
                  <c:v>24110</c:v>
                </c:pt>
                <c:pt idx="453">
                  <c:v>24115</c:v>
                </c:pt>
                <c:pt idx="454">
                  <c:v>24140</c:v>
                </c:pt>
                <c:pt idx="455">
                  <c:v>24161</c:v>
                </c:pt>
                <c:pt idx="456">
                  <c:v>24180</c:v>
                </c:pt>
                <c:pt idx="457">
                  <c:v>24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C$2:$C$459</c:f>
              <c:numCache>
                <c:formatCode>General</c:formatCode>
                <c:ptCount val="45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18</c:v>
                </c:pt>
                <c:pt idx="32">
                  <c:v>249</c:v>
                </c:pt>
                <c:pt idx="33">
                  <c:v>278</c:v>
                </c:pt>
                <c:pt idx="34">
                  <c:v>362</c:v>
                </c:pt>
                <c:pt idx="35">
                  <c:v>408</c:v>
                </c:pt>
                <c:pt idx="36">
                  <c:v>450</c:v>
                </c:pt>
                <c:pt idx="37">
                  <c:v>534</c:v>
                </c:pt>
                <c:pt idx="38">
                  <c:v>620</c:v>
                </c:pt>
                <c:pt idx="39">
                  <c:v>671</c:v>
                </c:pt>
                <c:pt idx="40">
                  <c:v>696</c:v>
                </c:pt>
                <c:pt idx="41">
                  <c:v>852</c:v>
                </c:pt>
                <c:pt idx="42">
                  <c:v>1006</c:v>
                </c:pt>
                <c:pt idx="43">
                  <c:v>1196</c:v>
                </c:pt>
                <c:pt idx="44">
                  <c:v>1393</c:v>
                </c:pt>
                <c:pt idx="45">
                  <c:v>1604</c:v>
                </c:pt>
                <c:pt idx="46">
                  <c:v>1707</c:v>
                </c:pt>
                <c:pt idx="47">
                  <c:v>1755</c:v>
                </c:pt>
                <c:pt idx="48">
                  <c:v>1943</c:v>
                </c:pt>
                <c:pt idx="49">
                  <c:v>2136</c:v>
                </c:pt>
                <c:pt idx="50">
                  <c:v>2393</c:v>
                </c:pt>
                <c:pt idx="51">
                  <c:v>2628</c:v>
                </c:pt>
                <c:pt idx="52">
                  <c:v>2962</c:v>
                </c:pt>
                <c:pt idx="53">
                  <c:v>3149</c:v>
                </c:pt>
                <c:pt idx="54">
                  <c:v>3239</c:v>
                </c:pt>
                <c:pt idx="55">
                  <c:v>3612</c:v>
                </c:pt>
                <c:pt idx="56">
                  <c:v>4008</c:v>
                </c:pt>
                <c:pt idx="57">
                  <c:v>4141</c:v>
                </c:pt>
                <c:pt idx="58">
                  <c:v>4611</c:v>
                </c:pt>
                <c:pt idx="59">
                  <c:v>4943</c:v>
                </c:pt>
                <c:pt idx="60">
                  <c:v>5125</c:v>
                </c:pt>
                <c:pt idx="61">
                  <c:v>5241</c:v>
                </c:pt>
                <c:pt idx="62">
                  <c:v>5538</c:v>
                </c:pt>
                <c:pt idx="63">
                  <c:v>5767</c:v>
                </c:pt>
                <c:pt idx="64">
                  <c:v>6096</c:v>
                </c:pt>
                <c:pt idx="65">
                  <c:v>6374</c:v>
                </c:pt>
                <c:pt idx="66">
                  <c:v>6614</c:v>
                </c:pt>
                <c:pt idx="67">
                  <c:v>6730</c:v>
                </c:pt>
                <c:pt idx="68">
                  <c:v>6778</c:v>
                </c:pt>
                <c:pt idx="69">
                  <c:v>6974</c:v>
                </c:pt>
                <c:pt idx="70">
                  <c:v>7177</c:v>
                </c:pt>
                <c:pt idx="71">
                  <c:v>7439</c:v>
                </c:pt>
                <c:pt idx="72">
                  <c:v>7668</c:v>
                </c:pt>
                <c:pt idx="73">
                  <c:v>7872</c:v>
                </c:pt>
                <c:pt idx="74">
                  <c:v>7944</c:v>
                </c:pt>
                <c:pt idx="75">
                  <c:v>7974</c:v>
                </c:pt>
                <c:pt idx="76">
                  <c:v>8149</c:v>
                </c:pt>
                <c:pt idx="77">
                  <c:v>8195</c:v>
                </c:pt>
                <c:pt idx="78">
                  <c:v>8355</c:v>
                </c:pt>
                <c:pt idx="79">
                  <c:v>8480</c:v>
                </c:pt>
                <c:pt idx="80">
                  <c:v>8600</c:v>
                </c:pt>
                <c:pt idx="81">
                  <c:v>8635</c:v>
                </c:pt>
                <c:pt idx="82">
                  <c:v>8652</c:v>
                </c:pt>
                <c:pt idx="83">
                  <c:v>8790</c:v>
                </c:pt>
                <c:pt idx="84">
                  <c:v>8895</c:v>
                </c:pt>
                <c:pt idx="85">
                  <c:v>8986</c:v>
                </c:pt>
                <c:pt idx="86">
                  <c:v>9041</c:v>
                </c:pt>
                <c:pt idx="87">
                  <c:v>9121</c:v>
                </c:pt>
                <c:pt idx="88">
                  <c:v>9144</c:v>
                </c:pt>
                <c:pt idx="89">
                  <c:v>9159</c:v>
                </c:pt>
                <c:pt idx="90">
                  <c:v>9264</c:v>
                </c:pt>
                <c:pt idx="91">
                  <c:v>9349</c:v>
                </c:pt>
                <c:pt idx="92">
                  <c:v>9415</c:v>
                </c:pt>
                <c:pt idx="93">
                  <c:v>9471</c:v>
                </c:pt>
                <c:pt idx="94">
                  <c:v>9560</c:v>
                </c:pt>
                <c:pt idx="95">
                  <c:v>9599</c:v>
                </c:pt>
                <c:pt idx="96">
                  <c:v>9623</c:v>
                </c:pt>
                <c:pt idx="97">
                  <c:v>9742</c:v>
                </c:pt>
                <c:pt idx="98">
                  <c:v>9818</c:v>
                </c:pt>
                <c:pt idx="99">
                  <c:v>9880</c:v>
                </c:pt>
                <c:pt idx="100">
                  <c:v>9939</c:v>
                </c:pt>
                <c:pt idx="101">
                  <c:v>10016</c:v>
                </c:pt>
                <c:pt idx="102">
                  <c:v>10037</c:v>
                </c:pt>
                <c:pt idx="103">
                  <c:v>10054</c:v>
                </c:pt>
                <c:pt idx="104">
                  <c:v>10182</c:v>
                </c:pt>
                <c:pt idx="105">
                  <c:v>10253</c:v>
                </c:pt>
                <c:pt idx="106">
                  <c:v>10347</c:v>
                </c:pt>
                <c:pt idx="107">
                  <c:v>10398</c:v>
                </c:pt>
                <c:pt idx="108">
                  <c:v>10473</c:v>
                </c:pt>
                <c:pt idx="109">
                  <c:v>10500</c:v>
                </c:pt>
                <c:pt idx="110">
                  <c:v>10527</c:v>
                </c:pt>
                <c:pt idx="111">
                  <c:v>10684</c:v>
                </c:pt>
                <c:pt idx="112">
                  <c:v>10795</c:v>
                </c:pt>
                <c:pt idx="113">
                  <c:v>10911</c:v>
                </c:pt>
                <c:pt idx="114">
                  <c:v>10939</c:v>
                </c:pt>
                <c:pt idx="115">
                  <c:v>10983</c:v>
                </c:pt>
                <c:pt idx="116">
                  <c:v>11032</c:v>
                </c:pt>
                <c:pt idx="117">
                  <c:v>11078</c:v>
                </c:pt>
                <c:pt idx="118">
                  <c:v>11267</c:v>
                </c:pt>
                <c:pt idx="119">
                  <c:v>11412</c:v>
                </c:pt>
                <c:pt idx="120">
                  <c:v>11523</c:v>
                </c:pt>
                <c:pt idx="121">
                  <c:v>11608</c:v>
                </c:pt>
                <c:pt idx="122">
                  <c:v>11636</c:v>
                </c:pt>
                <c:pt idx="123">
                  <c:v>11693</c:v>
                </c:pt>
                <c:pt idx="124">
                  <c:v>11728</c:v>
                </c:pt>
                <c:pt idx="125">
                  <c:v>11996</c:v>
                </c:pt>
                <c:pt idx="126">
                  <c:v>12139</c:v>
                </c:pt>
                <c:pt idx="127">
                  <c:v>12250</c:v>
                </c:pt>
                <c:pt idx="128">
                  <c:v>12349</c:v>
                </c:pt>
                <c:pt idx="129">
                  <c:v>12469</c:v>
                </c:pt>
                <c:pt idx="130">
                  <c:v>12517</c:v>
                </c:pt>
                <c:pt idx="131">
                  <c:v>12541</c:v>
                </c:pt>
                <c:pt idx="132">
                  <c:v>12768</c:v>
                </c:pt>
                <c:pt idx="133">
                  <c:v>12863</c:v>
                </c:pt>
                <c:pt idx="134">
                  <c:v>12969</c:v>
                </c:pt>
                <c:pt idx="135">
                  <c:v>13022</c:v>
                </c:pt>
                <c:pt idx="136">
                  <c:v>13087</c:v>
                </c:pt>
                <c:pt idx="137">
                  <c:v>13118</c:v>
                </c:pt>
                <c:pt idx="138">
                  <c:v>13144</c:v>
                </c:pt>
                <c:pt idx="139">
                  <c:v>13267</c:v>
                </c:pt>
                <c:pt idx="140">
                  <c:v>13342</c:v>
                </c:pt>
                <c:pt idx="141">
                  <c:v>13413</c:v>
                </c:pt>
                <c:pt idx="142">
                  <c:v>13472</c:v>
                </c:pt>
                <c:pt idx="143">
                  <c:v>13550</c:v>
                </c:pt>
                <c:pt idx="144">
                  <c:v>13576</c:v>
                </c:pt>
                <c:pt idx="145">
                  <c:v>13587</c:v>
                </c:pt>
                <c:pt idx="146">
                  <c:v>13676</c:v>
                </c:pt>
                <c:pt idx="147">
                  <c:v>13752</c:v>
                </c:pt>
                <c:pt idx="148">
                  <c:v>13811</c:v>
                </c:pt>
                <c:pt idx="149">
                  <c:v>13843</c:v>
                </c:pt>
                <c:pt idx="150">
                  <c:v>13889</c:v>
                </c:pt>
                <c:pt idx="151">
                  <c:v>13918</c:v>
                </c:pt>
                <c:pt idx="152">
                  <c:v>13927</c:v>
                </c:pt>
                <c:pt idx="153">
                  <c:v>14006</c:v>
                </c:pt>
                <c:pt idx="154">
                  <c:v>14074</c:v>
                </c:pt>
                <c:pt idx="155">
                  <c:v>14131</c:v>
                </c:pt>
                <c:pt idx="156">
                  <c:v>14173</c:v>
                </c:pt>
                <c:pt idx="157">
                  <c:v>14219</c:v>
                </c:pt>
                <c:pt idx="158">
                  <c:v>14229</c:v>
                </c:pt>
                <c:pt idx="159">
                  <c:v>14246</c:v>
                </c:pt>
                <c:pt idx="160">
                  <c:v>14314</c:v>
                </c:pt>
                <c:pt idx="161">
                  <c:v>14335</c:v>
                </c:pt>
                <c:pt idx="162">
                  <c:v>14368</c:v>
                </c:pt>
                <c:pt idx="163">
                  <c:v>14405</c:v>
                </c:pt>
                <c:pt idx="164">
                  <c:v>14444</c:v>
                </c:pt>
                <c:pt idx="165">
                  <c:v>14459</c:v>
                </c:pt>
                <c:pt idx="166">
                  <c:v>14469</c:v>
                </c:pt>
                <c:pt idx="167">
                  <c:v>14531</c:v>
                </c:pt>
                <c:pt idx="168">
                  <c:v>14564</c:v>
                </c:pt>
                <c:pt idx="169">
                  <c:v>14600</c:v>
                </c:pt>
                <c:pt idx="170">
                  <c:v>14628</c:v>
                </c:pt>
                <c:pt idx="171">
                  <c:v>14663</c:v>
                </c:pt>
                <c:pt idx="172">
                  <c:v>14669</c:v>
                </c:pt>
                <c:pt idx="173">
                  <c:v>14687</c:v>
                </c:pt>
                <c:pt idx="174">
                  <c:v>14760</c:v>
                </c:pt>
                <c:pt idx="175">
                  <c:v>14804</c:v>
                </c:pt>
                <c:pt idx="176">
                  <c:v>14838</c:v>
                </c:pt>
                <c:pt idx="177">
                  <c:v>14869</c:v>
                </c:pt>
                <c:pt idx="178">
                  <c:v>14907</c:v>
                </c:pt>
                <c:pt idx="179">
                  <c:v>14916</c:v>
                </c:pt>
                <c:pt idx="180">
                  <c:v>14925</c:v>
                </c:pt>
                <c:pt idx="181">
                  <c:v>14980</c:v>
                </c:pt>
                <c:pt idx="182">
                  <c:v>15019</c:v>
                </c:pt>
                <c:pt idx="183">
                  <c:v>15075</c:v>
                </c:pt>
                <c:pt idx="184">
                  <c:v>15113</c:v>
                </c:pt>
                <c:pt idx="185">
                  <c:v>15141</c:v>
                </c:pt>
                <c:pt idx="186">
                  <c:v>15155</c:v>
                </c:pt>
                <c:pt idx="187">
                  <c:v>15164</c:v>
                </c:pt>
                <c:pt idx="188">
                  <c:v>15223</c:v>
                </c:pt>
                <c:pt idx="189">
                  <c:v>15260</c:v>
                </c:pt>
                <c:pt idx="190">
                  <c:v>15289</c:v>
                </c:pt>
                <c:pt idx="191">
                  <c:v>15315</c:v>
                </c:pt>
                <c:pt idx="192">
                  <c:v>15333</c:v>
                </c:pt>
                <c:pt idx="193">
                  <c:v>15344</c:v>
                </c:pt>
                <c:pt idx="194">
                  <c:v>15351</c:v>
                </c:pt>
                <c:pt idx="195">
                  <c:v>15386</c:v>
                </c:pt>
                <c:pt idx="196">
                  <c:v>15409</c:v>
                </c:pt>
                <c:pt idx="197">
                  <c:v>15432</c:v>
                </c:pt>
                <c:pt idx="198">
                  <c:v>15448</c:v>
                </c:pt>
                <c:pt idx="199">
                  <c:v>15468</c:v>
                </c:pt>
                <c:pt idx="200">
                  <c:v>15469</c:v>
                </c:pt>
                <c:pt idx="201">
                  <c:v>15473</c:v>
                </c:pt>
                <c:pt idx="202">
                  <c:v>15502</c:v>
                </c:pt>
                <c:pt idx="203">
                  <c:v>15520</c:v>
                </c:pt>
                <c:pt idx="204">
                  <c:v>15530</c:v>
                </c:pt>
                <c:pt idx="205">
                  <c:v>15538</c:v>
                </c:pt>
                <c:pt idx="206">
                  <c:v>15554</c:v>
                </c:pt>
                <c:pt idx="207">
                  <c:v>15557</c:v>
                </c:pt>
                <c:pt idx="208">
                  <c:v>15558</c:v>
                </c:pt>
                <c:pt idx="209">
                  <c:v>15577</c:v>
                </c:pt>
                <c:pt idx="210">
                  <c:v>15590</c:v>
                </c:pt>
                <c:pt idx="211">
                  <c:v>15603</c:v>
                </c:pt>
                <c:pt idx="212">
                  <c:v>15614</c:v>
                </c:pt>
                <c:pt idx="213">
                  <c:v>15617</c:v>
                </c:pt>
                <c:pt idx="214">
                  <c:v>15620</c:v>
                </c:pt>
                <c:pt idx="215">
                  <c:v>15622</c:v>
                </c:pt>
                <c:pt idx="216">
                  <c:v>15627</c:v>
                </c:pt>
                <c:pt idx="217">
                  <c:v>15649</c:v>
                </c:pt>
                <c:pt idx="218">
                  <c:v>15665</c:v>
                </c:pt>
                <c:pt idx="219">
                  <c:v>15681</c:v>
                </c:pt>
                <c:pt idx="220">
                  <c:v>15689</c:v>
                </c:pt>
                <c:pt idx="221">
                  <c:v>15693</c:v>
                </c:pt>
                <c:pt idx="222">
                  <c:v>15694</c:v>
                </c:pt>
                <c:pt idx="223">
                  <c:v>15702</c:v>
                </c:pt>
                <c:pt idx="224">
                  <c:v>15708</c:v>
                </c:pt>
                <c:pt idx="225">
                  <c:v>15712</c:v>
                </c:pt>
                <c:pt idx="226">
                  <c:v>15718</c:v>
                </c:pt>
                <c:pt idx="227">
                  <c:v>15724</c:v>
                </c:pt>
                <c:pt idx="228">
                  <c:v>15725</c:v>
                </c:pt>
                <c:pt idx="229">
                  <c:v>15726</c:v>
                </c:pt>
                <c:pt idx="230">
                  <c:v>15736</c:v>
                </c:pt>
                <c:pt idx="231">
                  <c:v>15739</c:v>
                </c:pt>
                <c:pt idx="232">
                  <c:v>15742</c:v>
                </c:pt>
                <c:pt idx="233">
                  <c:v>15746</c:v>
                </c:pt>
                <c:pt idx="234">
                  <c:v>15749</c:v>
                </c:pt>
                <c:pt idx="235">
                  <c:v>15750</c:v>
                </c:pt>
                <c:pt idx="236">
                  <c:v>15750</c:v>
                </c:pt>
                <c:pt idx="237">
                  <c:v>15756</c:v>
                </c:pt>
                <c:pt idx="238">
                  <c:v>15762</c:v>
                </c:pt>
                <c:pt idx="239">
                  <c:v>15764</c:v>
                </c:pt>
                <c:pt idx="240">
                  <c:v>15766</c:v>
                </c:pt>
                <c:pt idx="241">
                  <c:v>15771</c:v>
                </c:pt>
                <c:pt idx="242">
                  <c:v>15771</c:v>
                </c:pt>
                <c:pt idx="243">
                  <c:v>15772</c:v>
                </c:pt>
                <c:pt idx="244">
                  <c:v>15774</c:v>
                </c:pt>
                <c:pt idx="245">
                  <c:v>15776</c:v>
                </c:pt>
                <c:pt idx="246">
                  <c:v>15777</c:v>
                </c:pt>
                <c:pt idx="247">
                  <c:v>15782</c:v>
                </c:pt>
                <c:pt idx="248">
                  <c:v>15784</c:v>
                </c:pt>
                <c:pt idx="249">
                  <c:v>15785</c:v>
                </c:pt>
                <c:pt idx="250">
                  <c:v>15785</c:v>
                </c:pt>
                <c:pt idx="251">
                  <c:v>15786</c:v>
                </c:pt>
                <c:pt idx="252">
                  <c:v>15790</c:v>
                </c:pt>
                <c:pt idx="253">
                  <c:v>15790</c:v>
                </c:pt>
                <c:pt idx="254">
                  <c:v>15792</c:v>
                </c:pt>
                <c:pt idx="255">
                  <c:v>15793</c:v>
                </c:pt>
                <c:pt idx="256">
                  <c:v>15793</c:v>
                </c:pt>
                <c:pt idx="257">
                  <c:v>15793</c:v>
                </c:pt>
                <c:pt idx="258">
                  <c:v>15797</c:v>
                </c:pt>
                <c:pt idx="259">
                  <c:v>15801</c:v>
                </c:pt>
                <c:pt idx="260">
                  <c:v>15802</c:v>
                </c:pt>
                <c:pt idx="261">
                  <c:v>15805</c:v>
                </c:pt>
                <c:pt idx="262">
                  <c:v>15805</c:v>
                </c:pt>
                <c:pt idx="263">
                  <c:v>15805</c:v>
                </c:pt>
                <c:pt idx="264">
                  <c:v>15805</c:v>
                </c:pt>
                <c:pt idx="265">
                  <c:v>15807</c:v>
                </c:pt>
                <c:pt idx="266">
                  <c:v>15808</c:v>
                </c:pt>
                <c:pt idx="267">
                  <c:v>15809</c:v>
                </c:pt>
                <c:pt idx="268">
                  <c:v>15810</c:v>
                </c:pt>
                <c:pt idx="269">
                  <c:v>15810</c:v>
                </c:pt>
                <c:pt idx="270">
                  <c:v>15810</c:v>
                </c:pt>
                <c:pt idx="271">
                  <c:v>15810</c:v>
                </c:pt>
                <c:pt idx="272">
                  <c:v>15810</c:v>
                </c:pt>
                <c:pt idx="273">
                  <c:v>15810</c:v>
                </c:pt>
                <c:pt idx="274">
                  <c:v>15810</c:v>
                </c:pt>
                <c:pt idx="275">
                  <c:v>15811</c:v>
                </c:pt>
                <c:pt idx="276">
                  <c:v>15811</c:v>
                </c:pt>
                <c:pt idx="277">
                  <c:v>15811</c:v>
                </c:pt>
                <c:pt idx="278">
                  <c:v>15811</c:v>
                </c:pt>
                <c:pt idx="279">
                  <c:v>15811</c:v>
                </c:pt>
                <c:pt idx="280">
                  <c:v>15811</c:v>
                </c:pt>
                <c:pt idx="281">
                  <c:v>15811</c:v>
                </c:pt>
                <c:pt idx="282">
                  <c:v>15811</c:v>
                </c:pt>
                <c:pt idx="283">
                  <c:v>15811</c:v>
                </c:pt>
                <c:pt idx="284">
                  <c:v>15811</c:v>
                </c:pt>
                <c:pt idx="285">
                  <c:v>15811</c:v>
                </c:pt>
                <c:pt idx="286">
                  <c:v>15811</c:v>
                </c:pt>
                <c:pt idx="287">
                  <c:v>15811</c:v>
                </c:pt>
                <c:pt idx="288">
                  <c:v>15811</c:v>
                </c:pt>
                <c:pt idx="289">
                  <c:v>15811</c:v>
                </c:pt>
                <c:pt idx="290">
                  <c:v>15811</c:v>
                </c:pt>
                <c:pt idx="291">
                  <c:v>15811</c:v>
                </c:pt>
                <c:pt idx="292">
                  <c:v>15811</c:v>
                </c:pt>
                <c:pt idx="293">
                  <c:v>15811</c:v>
                </c:pt>
                <c:pt idx="294">
                  <c:v>15811</c:v>
                </c:pt>
                <c:pt idx="295">
                  <c:v>15811</c:v>
                </c:pt>
                <c:pt idx="296">
                  <c:v>15811</c:v>
                </c:pt>
                <c:pt idx="297">
                  <c:v>15811</c:v>
                </c:pt>
                <c:pt idx="298">
                  <c:v>15811</c:v>
                </c:pt>
                <c:pt idx="299">
                  <c:v>15811</c:v>
                </c:pt>
                <c:pt idx="300">
                  <c:v>15811</c:v>
                </c:pt>
                <c:pt idx="301">
                  <c:v>15811</c:v>
                </c:pt>
                <c:pt idx="302">
                  <c:v>15812</c:v>
                </c:pt>
                <c:pt idx="303">
                  <c:v>15812</c:v>
                </c:pt>
                <c:pt idx="304">
                  <c:v>15812</c:v>
                </c:pt>
                <c:pt idx="305">
                  <c:v>15812</c:v>
                </c:pt>
                <c:pt idx="306">
                  <c:v>15812</c:v>
                </c:pt>
                <c:pt idx="307">
                  <c:v>15812</c:v>
                </c:pt>
                <c:pt idx="308">
                  <c:v>15812</c:v>
                </c:pt>
                <c:pt idx="309">
                  <c:v>15812</c:v>
                </c:pt>
                <c:pt idx="310">
                  <c:v>15812</c:v>
                </c:pt>
                <c:pt idx="311">
                  <c:v>15812</c:v>
                </c:pt>
                <c:pt idx="312">
                  <c:v>15812</c:v>
                </c:pt>
                <c:pt idx="313">
                  <c:v>15813</c:v>
                </c:pt>
                <c:pt idx="314">
                  <c:v>15813</c:v>
                </c:pt>
                <c:pt idx="315">
                  <c:v>15813</c:v>
                </c:pt>
                <c:pt idx="316">
                  <c:v>15813</c:v>
                </c:pt>
                <c:pt idx="317">
                  <c:v>15813</c:v>
                </c:pt>
                <c:pt idx="318">
                  <c:v>15813</c:v>
                </c:pt>
                <c:pt idx="319">
                  <c:v>15813</c:v>
                </c:pt>
                <c:pt idx="320">
                  <c:v>15813</c:v>
                </c:pt>
                <c:pt idx="321">
                  <c:v>15813</c:v>
                </c:pt>
                <c:pt idx="322">
                  <c:v>15813</c:v>
                </c:pt>
                <c:pt idx="323">
                  <c:v>15814</c:v>
                </c:pt>
                <c:pt idx="324">
                  <c:v>15814</c:v>
                </c:pt>
                <c:pt idx="325">
                  <c:v>15814</c:v>
                </c:pt>
                <c:pt idx="326">
                  <c:v>15814</c:v>
                </c:pt>
                <c:pt idx="327">
                  <c:v>15814</c:v>
                </c:pt>
                <c:pt idx="328">
                  <c:v>15814</c:v>
                </c:pt>
                <c:pt idx="329">
                  <c:v>15815</c:v>
                </c:pt>
                <c:pt idx="330">
                  <c:v>15817</c:v>
                </c:pt>
                <c:pt idx="331">
                  <c:v>15817</c:v>
                </c:pt>
                <c:pt idx="332">
                  <c:v>15817</c:v>
                </c:pt>
                <c:pt idx="333">
                  <c:v>15817</c:v>
                </c:pt>
                <c:pt idx="334">
                  <c:v>15817</c:v>
                </c:pt>
                <c:pt idx="335">
                  <c:v>15817</c:v>
                </c:pt>
                <c:pt idx="336">
                  <c:v>15817</c:v>
                </c:pt>
                <c:pt idx="337">
                  <c:v>15817</c:v>
                </c:pt>
                <c:pt idx="338">
                  <c:v>15817</c:v>
                </c:pt>
                <c:pt idx="339">
                  <c:v>15817</c:v>
                </c:pt>
                <c:pt idx="340">
                  <c:v>15817</c:v>
                </c:pt>
                <c:pt idx="341">
                  <c:v>15818</c:v>
                </c:pt>
                <c:pt idx="342">
                  <c:v>15818</c:v>
                </c:pt>
                <c:pt idx="343">
                  <c:v>15818</c:v>
                </c:pt>
                <c:pt idx="344">
                  <c:v>15819</c:v>
                </c:pt>
                <c:pt idx="345">
                  <c:v>15819</c:v>
                </c:pt>
                <c:pt idx="346">
                  <c:v>15819</c:v>
                </c:pt>
                <c:pt idx="347">
                  <c:v>15819</c:v>
                </c:pt>
                <c:pt idx="348">
                  <c:v>15819</c:v>
                </c:pt>
                <c:pt idx="349">
                  <c:v>15819</c:v>
                </c:pt>
                <c:pt idx="350">
                  <c:v>15819</c:v>
                </c:pt>
                <c:pt idx="351">
                  <c:v>15819</c:v>
                </c:pt>
                <c:pt idx="352">
                  <c:v>15819</c:v>
                </c:pt>
                <c:pt idx="353">
                  <c:v>15819</c:v>
                </c:pt>
                <c:pt idx="354">
                  <c:v>15819</c:v>
                </c:pt>
                <c:pt idx="355">
                  <c:v>15819</c:v>
                </c:pt>
                <c:pt idx="356">
                  <c:v>15820</c:v>
                </c:pt>
                <c:pt idx="357">
                  <c:v>15820</c:v>
                </c:pt>
                <c:pt idx="358">
                  <c:v>15820</c:v>
                </c:pt>
                <c:pt idx="359">
                  <c:v>15821</c:v>
                </c:pt>
                <c:pt idx="360">
                  <c:v>15822</c:v>
                </c:pt>
                <c:pt idx="361">
                  <c:v>15823</c:v>
                </c:pt>
                <c:pt idx="362">
                  <c:v>15823</c:v>
                </c:pt>
                <c:pt idx="363">
                  <c:v>15823</c:v>
                </c:pt>
                <c:pt idx="364">
                  <c:v>15823</c:v>
                </c:pt>
                <c:pt idx="365">
                  <c:v>15825</c:v>
                </c:pt>
                <c:pt idx="366">
                  <c:v>15826</c:v>
                </c:pt>
                <c:pt idx="367">
                  <c:v>15827</c:v>
                </c:pt>
                <c:pt idx="368">
                  <c:v>15827</c:v>
                </c:pt>
                <c:pt idx="369">
                  <c:v>15827</c:v>
                </c:pt>
                <c:pt idx="370">
                  <c:v>15828</c:v>
                </c:pt>
                <c:pt idx="371">
                  <c:v>15830</c:v>
                </c:pt>
                <c:pt idx="372">
                  <c:v>15831</c:v>
                </c:pt>
                <c:pt idx="373">
                  <c:v>15832</c:v>
                </c:pt>
                <c:pt idx="374">
                  <c:v>15832</c:v>
                </c:pt>
                <c:pt idx="375">
                  <c:v>15832</c:v>
                </c:pt>
                <c:pt idx="376">
                  <c:v>15833</c:v>
                </c:pt>
                <c:pt idx="377">
                  <c:v>15833</c:v>
                </c:pt>
                <c:pt idx="378">
                  <c:v>15834</c:v>
                </c:pt>
                <c:pt idx="379">
                  <c:v>15834</c:v>
                </c:pt>
                <c:pt idx="380">
                  <c:v>15834</c:v>
                </c:pt>
                <c:pt idx="381">
                  <c:v>15834</c:v>
                </c:pt>
                <c:pt idx="382">
                  <c:v>15835</c:v>
                </c:pt>
                <c:pt idx="383">
                  <c:v>15835</c:v>
                </c:pt>
                <c:pt idx="384">
                  <c:v>15839</c:v>
                </c:pt>
                <c:pt idx="385">
                  <c:v>15842</c:v>
                </c:pt>
                <c:pt idx="386">
                  <c:v>15844</c:v>
                </c:pt>
                <c:pt idx="387">
                  <c:v>15844</c:v>
                </c:pt>
                <c:pt idx="388">
                  <c:v>15844</c:v>
                </c:pt>
                <c:pt idx="389">
                  <c:v>15845</c:v>
                </c:pt>
                <c:pt idx="390">
                  <c:v>15846</c:v>
                </c:pt>
                <c:pt idx="391">
                  <c:v>15851</c:v>
                </c:pt>
                <c:pt idx="392">
                  <c:v>15853</c:v>
                </c:pt>
                <c:pt idx="393">
                  <c:v>15860</c:v>
                </c:pt>
                <c:pt idx="394">
                  <c:v>15863</c:v>
                </c:pt>
                <c:pt idx="395">
                  <c:v>15865</c:v>
                </c:pt>
                <c:pt idx="396">
                  <c:v>15865</c:v>
                </c:pt>
                <c:pt idx="397">
                  <c:v>15865</c:v>
                </c:pt>
                <c:pt idx="398">
                  <c:v>15868</c:v>
                </c:pt>
                <c:pt idx="399">
                  <c:v>15873</c:v>
                </c:pt>
                <c:pt idx="400">
                  <c:v>15875</c:v>
                </c:pt>
                <c:pt idx="401">
                  <c:v>15876</c:v>
                </c:pt>
                <c:pt idx="402">
                  <c:v>15878</c:v>
                </c:pt>
                <c:pt idx="403">
                  <c:v>15879</c:v>
                </c:pt>
                <c:pt idx="404">
                  <c:v>15879</c:v>
                </c:pt>
                <c:pt idx="405">
                  <c:v>15881</c:v>
                </c:pt>
                <c:pt idx="406">
                  <c:v>15884</c:v>
                </c:pt>
                <c:pt idx="407">
                  <c:v>15885</c:v>
                </c:pt>
                <c:pt idx="408">
                  <c:v>15888</c:v>
                </c:pt>
                <c:pt idx="409">
                  <c:v>15894</c:v>
                </c:pt>
                <c:pt idx="410">
                  <c:v>15896</c:v>
                </c:pt>
                <c:pt idx="411">
                  <c:v>15897</c:v>
                </c:pt>
                <c:pt idx="412">
                  <c:v>15909</c:v>
                </c:pt>
                <c:pt idx="413">
                  <c:v>15916</c:v>
                </c:pt>
                <c:pt idx="414">
                  <c:v>15925</c:v>
                </c:pt>
                <c:pt idx="415">
                  <c:v>15932</c:v>
                </c:pt>
                <c:pt idx="416">
                  <c:v>15942</c:v>
                </c:pt>
                <c:pt idx="417">
                  <c:v>15942</c:v>
                </c:pt>
                <c:pt idx="418">
                  <c:v>15945</c:v>
                </c:pt>
                <c:pt idx="419">
                  <c:v>15962</c:v>
                </c:pt>
                <c:pt idx="420">
                  <c:v>15967</c:v>
                </c:pt>
                <c:pt idx="421">
                  <c:v>15983</c:v>
                </c:pt>
                <c:pt idx="422">
                  <c:v>15986</c:v>
                </c:pt>
                <c:pt idx="423">
                  <c:v>15994</c:v>
                </c:pt>
                <c:pt idx="424">
                  <c:v>15999</c:v>
                </c:pt>
                <c:pt idx="425">
                  <c:v>16003</c:v>
                </c:pt>
                <c:pt idx="426">
                  <c:v>16043</c:v>
                </c:pt>
                <c:pt idx="427">
                  <c:v>16068</c:v>
                </c:pt>
                <c:pt idx="428">
                  <c:v>16087</c:v>
                </c:pt>
                <c:pt idx="429">
                  <c:v>16111</c:v>
                </c:pt>
                <c:pt idx="430">
                  <c:v>16138</c:v>
                </c:pt>
                <c:pt idx="431">
                  <c:v>16151</c:v>
                </c:pt>
                <c:pt idx="432">
                  <c:v>16156</c:v>
                </c:pt>
                <c:pt idx="433">
                  <c:v>16206</c:v>
                </c:pt>
                <c:pt idx="434">
                  <c:v>16231</c:v>
                </c:pt>
                <c:pt idx="435">
                  <c:v>16257</c:v>
                </c:pt>
                <c:pt idx="436">
                  <c:v>16289</c:v>
                </c:pt>
                <c:pt idx="437">
                  <c:v>16321</c:v>
                </c:pt>
                <c:pt idx="438">
                  <c:v>16338</c:v>
                </c:pt>
                <c:pt idx="439">
                  <c:v>16351</c:v>
                </c:pt>
                <c:pt idx="440">
                  <c:v>16401</c:v>
                </c:pt>
                <c:pt idx="441">
                  <c:v>16440</c:v>
                </c:pt>
                <c:pt idx="442">
                  <c:v>16452</c:v>
                </c:pt>
                <c:pt idx="443">
                  <c:v>16493</c:v>
                </c:pt>
                <c:pt idx="444">
                  <c:v>16554</c:v>
                </c:pt>
                <c:pt idx="445">
                  <c:v>16578</c:v>
                </c:pt>
                <c:pt idx="446">
                  <c:v>16586</c:v>
                </c:pt>
                <c:pt idx="447">
                  <c:v>16634</c:v>
                </c:pt>
                <c:pt idx="448">
                  <c:v>16690</c:v>
                </c:pt>
                <c:pt idx="449">
                  <c:v>16747</c:v>
                </c:pt>
                <c:pt idx="450">
                  <c:v>16793</c:v>
                </c:pt>
                <c:pt idx="451">
                  <c:v>16843</c:v>
                </c:pt>
                <c:pt idx="452">
                  <c:v>16864</c:v>
                </c:pt>
                <c:pt idx="453">
                  <c:v>16875</c:v>
                </c:pt>
                <c:pt idx="454">
                  <c:v>16910</c:v>
                </c:pt>
                <c:pt idx="455">
                  <c:v>16962</c:v>
                </c:pt>
                <c:pt idx="456">
                  <c:v>16993</c:v>
                </c:pt>
                <c:pt idx="457">
                  <c:v>170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D$2:$D$459</c:f>
              <c:numCache>
                <c:formatCode>General</c:formatCode>
                <c:ptCount val="458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6</c:v>
                </c:pt>
                <c:pt idx="31">
                  <c:v>378</c:v>
                </c:pt>
                <c:pt idx="32">
                  <c:v>445</c:v>
                </c:pt>
                <c:pt idx="33">
                  <c:v>528</c:v>
                </c:pt>
                <c:pt idx="34">
                  <c:v>776</c:v>
                </c:pt>
                <c:pt idx="35">
                  <c:v>904</c:v>
                </c:pt>
                <c:pt idx="36">
                  <c:v>991</c:v>
                </c:pt>
                <c:pt idx="37">
                  <c:v>1153</c:v>
                </c:pt>
                <c:pt idx="38">
                  <c:v>1378</c:v>
                </c:pt>
                <c:pt idx="39">
                  <c:v>1459</c:v>
                </c:pt>
                <c:pt idx="40">
                  <c:v>1495</c:v>
                </c:pt>
                <c:pt idx="41">
                  <c:v>1789</c:v>
                </c:pt>
                <c:pt idx="42">
                  <c:v>2165</c:v>
                </c:pt>
                <c:pt idx="43">
                  <c:v>2536</c:v>
                </c:pt>
                <c:pt idx="44">
                  <c:v>2924</c:v>
                </c:pt>
                <c:pt idx="45">
                  <c:v>3341</c:v>
                </c:pt>
                <c:pt idx="46">
                  <c:v>3599</c:v>
                </c:pt>
                <c:pt idx="47">
                  <c:v>3688</c:v>
                </c:pt>
                <c:pt idx="48">
                  <c:v>4118</c:v>
                </c:pt>
                <c:pt idx="49">
                  <c:v>4511</c:v>
                </c:pt>
                <c:pt idx="50">
                  <c:v>5094</c:v>
                </c:pt>
                <c:pt idx="51">
                  <c:v>5556</c:v>
                </c:pt>
                <c:pt idx="52">
                  <c:v>6305</c:v>
                </c:pt>
                <c:pt idx="53">
                  <c:v>6719</c:v>
                </c:pt>
                <c:pt idx="54">
                  <c:v>7004</c:v>
                </c:pt>
                <c:pt idx="55">
                  <c:v>7764</c:v>
                </c:pt>
                <c:pt idx="56">
                  <c:v>8682</c:v>
                </c:pt>
                <c:pt idx="57">
                  <c:v>9075</c:v>
                </c:pt>
                <c:pt idx="58">
                  <c:v>10081</c:v>
                </c:pt>
                <c:pt idx="59">
                  <c:v>11000</c:v>
                </c:pt>
                <c:pt idx="60">
                  <c:v>11518</c:v>
                </c:pt>
                <c:pt idx="61">
                  <c:v>11846</c:v>
                </c:pt>
                <c:pt idx="62">
                  <c:v>12474</c:v>
                </c:pt>
                <c:pt idx="63">
                  <c:v>13035</c:v>
                </c:pt>
                <c:pt idx="64">
                  <c:v>13788</c:v>
                </c:pt>
                <c:pt idx="65">
                  <c:v>14599</c:v>
                </c:pt>
                <c:pt idx="66">
                  <c:v>15327</c:v>
                </c:pt>
                <c:pt idx="67">
                  <c:v>15657</c:v>
                </c:pt>
                <c:pt idx="68">
                  <c:v>15783</c:v>
                </c:pt>
                <c:pt idx="69">
                  <c:v>16181</c:v>
                </c:pt>
                <c:pt idx="70">
                  <c:v>16769</c:v>
                </c:pt>
                <c:pt idx="71">
                  <c:v>17707</c:v>
                </c:pt>
                <c:pt idx="72">
                  <c:v>18434</c:v>
                </c:pt>
                <c:pt idx="73">
                  <c:v>19119</c:v>
                </c:pt>
                <c:pt idx="74">
                  <c:v>19370</c:v>
                </c:pt>
                <c:pt idx="75">
                  <c:v>19564</c:v>
                </c:pt>
                <c:pt idx="76">
                  <c:v>20121</c:v>
                </c:pt>
                <c:pt idx="77">
                  <c:v>20304</c:v>
                </c:pt>
                <c:pt idx="78">
                  <c:v>20730</c:v>
                </c:pt>
                <c:pt idx="79">
                  <c:v>21124</c:v>
                </c:pt>
                <c:pt idx="80">
                  <c:v>21482</c:v>
                </c:pt>
                <c:pt idx="81">
                  <c:v>21611</c:v>
                </c:pt>
                <c:pt idx="82">
                  <c:v>21719</c:v>
                </c:pt>
                <c:pt idx="83">
                  <c:v>22235</c:v>
                </c:pt>
                <c:pt idx="84">
                  <c:v>22538</c:v>
                </c:pt>
                <c:pt idx="85">
                  <c:v>22753</c:v>
                </c:pt>
                <c:pt idx="86">
                  <c:v>23002</c:v>
                </c:pt>
                <c:pt idx="87">
                  <c:v>23219</c:v>
                </c:pt>
                <c:pt idx="88">
                  <c:v>23320</c:v>
                </c:pt>
                <c:pt idx="89">
                  <c:v>23363</c:v>
                </c:pt>
                <c:pt idx="90">
                  <c:v>23681</c:v>
                </c:pt>
                <c:pt idx="91">
                  <c:v>23889</c:v>
                </c:pt>
                <c:pt idx="92">
                  <c:v>24087</c:v>
                </c:pt>
                <c:pt idx="93">
                  <c:v>24271</c:v>
                </c:pt>
                <c:pt idx="94">
                  <c:v>24501</c:v>
                </c:pt>
                <c:pt idx="95">
                  <c:v>24629</c:v>
                </c:pt>
                <c:pt idx="96">
                  <c:v>24673</c:v>
                </c:pt>
                <c:pt idx="97">
                  <c:v>24934</c:v>
                </c:pt>
                <c:pt idx="98">
                  <c:v>25099</c:v>
                </c:pt>
                <c:pt idx="99">
                  <c:v>25301</c:v>
                </c:pt>
                <c:pt idx="100">
                  <c:v>25443</c:v>
                </c:pt>
                <c:pt idx="101">
                  <c:v>25749</c:v>
                </c:pt>
                <c:pt idx="102">
                  <c:v>25837</c:v>
                </c:pt>
                <c:pt idx="103">
                  <c:v>25903</c:v>
                </c:pt>
                <c:pt idx="104">
                  <c:v>26178</c:v>
                </c:pt>
                <c:pt idx="105">
                  <c:v>26382</c:v>
                </c:pt>
                <c:pt idx="106">
                  <c:v>26576</c:v>
                </c:pt>
                <c:pt idx="107">
                  <c:v>26695</c:v>
                </c:pt>
                <c:pt idx="108">
                  <c:v>26983</c:v>
                </c:pt>
                <c:pt idx="109">
                  <c:v>27071</c:v>
                </c:pt>
                <c:pt idx="110">
                  <c:v>27119</c:v>
                </c:pt>
                <c:pt idx="111">
                  <c:v>27454</c:v>
                </c:pt>
                <c:pt idx="112">
                  <c:v>27741</c:v>
                </c:pt>
                <c:pt idx="113">
                  <c:v>27979</c:v>
                </c:pt>
                <c:pt idx="114">
                  <c:v>28025</c:v>
                </c:pt>
                <c:pt idx="115">
                  <c:v>28140</c:v>
                </c:pt>
                <c:pt idx="116">
                  <c:v>28267</c:v>
                </c:pt>
                <c:pt idx="117">
                  <c:v>28411</c:v>
                </c:pt>
                <c:pt idx="118">
                  <c:v>28764</c:v>
                </c:pt>
                <c:pt idx="119">
                  <c:v>29094</c:v>
                </c:pt>
                <c:pt idx="120">
                  <c:v>29349</c:v>
                </c:pt>
                <c:pt idx="121">
                  <c:v>29567</c:v>
                </c:pt>
                <c:pt idx="122">
                  <c:v>29660</c:v>
                </c:pt>
                <c:pt idx="123">
                  <c:v>29776</c:v>
                </c:pt>
                <c:pt idx="124">
                  <c:v>29852</c:v>
                </c:pt>
                <c:pt idx="125">
                  <c:v>30389</c:v>
                </c:pt>
                <c:pt idx="126">
                  <c:v>30684</c:v>
                </c:pt>
                <c:pt idx="127">
                  <c:v>30959</c:v>
                </c:pt>
                <c:pt idx="128">
                  <c:v>31290</c:v>
                </c:pt>
                <c:pt idx="129">
                  <c:v>31595</c:v>
                </c:pt>
                <c:pt idx="130">
                  <c:v>31704</c:v>
                </c:pt>
                <c:pt idx="131">
                  <c:v>31757</c:v>
                </c:pt>
                <c:pt idx="132">
                  <c:v>32222</c:v>
                </c:pt>
                <c:pt idx="133">
                  <c:v>32443</c:v>
                </c:pt>
                <c:pt idx="134">
                  <c:v>32723</c:v>
                </c:pt>
                <c:pt idx="135">
                  <c:v>32873</c:v>
                </c:pt>
                <c:pt idx="136">
                  <c:v>33024</c:v>
                </c:pt>
                <c:pt idx="137">
                  <c:v>33090</c:v>
                </c:pt>
                <c:pt idx="138">
                  <c:v>33161</c:v>
                </c:pt>
                <c:pt idx="139">
                  <c:v>33445</c:v>
                </c:pt>
                <c:pt idx="140">
                  <c:v>33599</c:v>
                </c:pt>
                <c:pt idx="141">
                  <c:v>33816</c:v>
                </c:pt>
                <c:pt idx="142">
                  <c:v>33981</c:v>
                </c:pt>
                <c:pt idx="143">
                  <c:v>34173</c:v>
                </c:pt>
                <c:pt idx="144">
                  <c:v>34252</c:v>
                </c:pt>
                <c:pt idx="145">
                  <c:v>34287</c:v>
                </c:pt>
                <c:pt idx="146">
                  <c:v>34461</c:v>
                </c:pt>
                <c:pt idx="147">
                  <c:v>34578</c:v>
                </c:pt>
                <c:pt idx="148">
                  <c:v>34732</c:v>
                </c:pt>
                <c:pt idx="149">
                  <c:v>34830</c:v>
                </c:pt>
                <c:pt idx="150">
                  <c:v>34913</c:v>
                </c:pt>
                <c:pt idx="151">
                  <c:v>34991</c:v>
                </c:pt>
                <c:pt idx="152">
                  <c:v>35009</c:v>
                </c:pt>
                <c:pt idx="153">
                  <c:v>35193</c:v>
                </c:pt>
                <c:pt idx="154">
                  <c:v>35355</c:v>
                </c:pt>
                <c:pt idx="155">
                  <c:v>35514</c:v>
                </c:pt>
                <c:pt idx="156">
                  <c:v>35638</c:v>
                </c:pt>
                <c:pt idx="157">
                  <c:v>35768</c:v>
                </c:pt>
                <c:pt idx="158">
                  <c:v>35820</c:v>
                </c:pt>
                <c:pt idx="159">
                  <c:v>35853</c:v>
                </c:pt>
                <c:pt idx="160">
                  <c:v>35986</c:v>
                </c:pt>
                <c:pt idx="161">
                  <c:v>36073</c:v>
                </c:pt>
                <c:pt idx="162">
                  <c:v>36173</c:v>
                </c:pt>
                <c:pt idx="163">
                  <c:v>36275</c:v>
                </c:pt>
                <c:pt idx="164">
                  <c:v>36366</c:v>
                </c:pt>
                <c:pt idx="165">
                  <c:v>36389</c:v>
                </c:pt>
                <c:pt idx="166">
                  <c:v>36412</c:v>
                </c:pt>
                <c:pt idx="167">
                  <c:v>36511</c:v>
                </c:pt>
                <c:pt idx="168">
                  <c:v>36561</c:v>
                </c:pt>
                <c:pt idx="169">
                  <c:v>36627</c:v>
                </c:pt>
                <c:pt idx="170">
                  <c:v>36682</c:v>
                </c:pt>
                <c:pt idx="171">
                  <c:v>36744</c:v>
                </c:pt>
                <c:pt idx="172">
                  <c:v>36768</c:v>
                </c:pt>
                <c:pt idx="173">
                  <c:v>36791</c:v>
                </c:pt>
                <c:pt idx="174">
                  <c:v>36953</c:v>
                </c:pt>
                <c:pt idx="175">
                  <c:v>37032</c:v>
                </c:pt>
                <c:pt idx="176">
                  <c:v>37100</c:v>
                </c:pt>
                <c:pt idx="177">
                  <c:v>37177</c:v>
                </c:pt>
                <c:pt idx="178">
                  <c:v>37261</c:v>
                </c:pt>
                <c:pt idx="179">
                  <c:v>37279</c:v>
                </c:pt>
                <c:pt idx="180">
                  <c:v>37291</c:v>
                </c:pt>
                <c:pt idx="181">
                  <c:v>37424</c:v>
                </c:pt>
                <c:pt idx="182">
                  <c:v>37491</c:v>
                </c:pt>
                <c:pt idx="183">
                  <c:v>37593</c:v>
                </c:pt>
                <c:pt idx="184">
                  <c:v>37640</c:v>
                </c:pt>
                <c:pt idx="185">
                  <c:v>37690</c:v>
                </c:pt>
                <c:pt idx="186">
                  <c:v>37709</c:v>
                </c:pt>
                <c:pt idx="187">
                  <c:v>37723</c:v>
                </c:pt>
                <c:pt idx="188">
                  <c:v>37809</c:v>
                </c:pt>
                <c:pt idx="189">
                  <c:v>37919</c:v>
                </c:pt>
                <c:pt idx="190">
                  <c:v>38003</c:v>
                </c:pt>
                <c:pt idx="191">
                  <c:v>38041</c:v>
                </c:pt>
                <c:pt idx="192">
                  <c:v>38084</c:v>
                </c:pt>
                <c:pt idx="193">
                  <c:v>38104</c:v>
                </c:pt>
                <c:pt idx="194">
                  <c:v>38117</c:v>
                </c:pt>
                <c:pt idx="195">
                  <c:v>38179</c:v>
                </c:pt>
                <c:pt idx="196">
                  <c:v>38222</c:v>
                </c:pt>
                <c:pt idx="197">
                  <c:v>38252</c:v>
                </c:pt>
                <c:pt idx="198">
                  <c:v>38305</c:v>
                </c:pt>
                <c:pt idx="199">
                  <c:v>38343</c:v>
                </c:pt>
                <c:pt idx="200">
                  <c:v>38353</c:v>
                </c:pt>
                <c:pt idx="201">
                  <c:v>38361</c:v>
                </c:pt>
                <c:pt idx="202">
                  <c:v>38404</c:v>
                </c:pt>
                <c:pt idx="203">
                  <c:v>38450</c:v>
                </c:pt>
                <c:pt idx="204">
                  <c:v>38479</c:v>
                </c:pt>
                <c:pt idx="205">
                  <c:v>38518</c:v>
                </c:pt>
                <c:pt idx="206">
                  <c:v>38540</c:v>
                </c:pt>
                <c:pt idx="207">
                  <c:v>38546</c:v>
                </c:pt>
                <c:pt idx="208">
                  <c:v>38551</c:v>
                </c:pt>
                <c:pt idx="209">
                  <c:v>38591</c:v>
                </c:pt>
                <c:pt idx="210">
                  <c:v>38614</c:v>
                </c:pt>
                <c:pt idx="211">
                  <c:v>38636</c:v>
                </c:pt>
                <c:pt idx="212">
                  <c:v>38656</c:v>
                </c:pt>
                <c:pt idx="213">
                  <c:v>38662</c:v>
                </c:pt>
                <c:pt idx="214">
                  <c:v>38668</c:v>
                </c:pt>
                <c:pt idx="215">
                  <c:v>38672</c:v>
                </c:pt>
                <c:pt idx="216">
                  <c:v>38678</c:v>
                </c:pt>
                <c:pt idx="217">
                  <c:v>38705</c:v>
                </c:pt>
                <c:pt idx="218">
                  <c:v>38739</c:v>
                </c:pt>
                <c:pt idx="219">
                  <c:v>38756</c:v>
                </c:pt>
                <c:pt idx="220">
                  <c:v>38767</c:v>
                </c:pt>
                <c:pt idx="221">
                  <c:v>38772</c:v>
                </c:pt>
                <c:pt idx="222">
                  <c:v>38773</c:v>
                </c:pt>
                <c:pt idx="223">
                  <c:v>38781</c:v>
                </c:pt>
                <c:pt idx="224">
                  <c:v>38789</c:v>
                </c:pt>
                <c:pt idx="225">
                  <c:v>38794</c:v>
                </c:pt>
                <c:pt idx="226">
                  <c:v>38803</c:v>
                </c:pt>
                <c:pt idx="227">
                  <c:v>38810</c:v>
                </c:pt>
                <c:pt idx="228">
                  <c:v>38812</c:v>
                </c:pt>
                <c:pt idx="229">
                  <c:v>38814</c:v>
                </c:pt>
                <c:pt idx="230">
                  <c:v>38829</c:v>
                </c:pt>
                <c:pt idx="231">
                  <c:v>38836</c:v>
                </c:pt>
                <c:pt idx="232">
                  <c:v>38842</c:v>
                </c:pt>
                <c:pt idx="233">
                  <c:v>38855</c:v>
                </c:pt>
                <c:pt idx="234">
                  <c:v>38862</c:v>
                </c:pt>
                <c:pt idx="235">
                  <c:v>38864</c:v>
                </c:pt>
                <c:pt idx="236">
                  <c:v>38864</c:v>
                </c:pt>
                <c:pt idx="237">
                  <c:v>38871</c:v>
                </c:pt>
                <c:pt idx="238">
                  <c:v>38880</c:v>
                </c:pt>
                <c:pt idx="239">
                  <c:v>38883</c:v>
                </c:pt>
                <c:pt idx="240">
                  <c:v>38887</c:v>
                </c:pt>
                <c:pt idx="241">
                  <c:v>38893</c:v>
                </c:pt>
                <c:pt idx="242">
                  <c:v>38893</c:v>
                </c:pt>
                <c:pt idx="243">
                  <c:v>38894</c:v>
                </c:pt>
                <c:pt idx="244">
                  <c:v>38896</c:v>
                </c:pt>
                <c:pt idx="245">
                  <c:v>38898</c:v>
                </c:pt>
                <c:pt idx="246">
                  <c:v>38901</c:v>
                </c:pt>
                <c:pt idx="247">
                  <c:v>38906</c:v>
                </c:pt>
                <c:pt idx="248">
                  <c:v>38909</c:v>
                </c:pt>
                <c:pt idx="249">
                  <c:v>38910</c:v>
                </c:pt>
                <c:pt idx="250">
                  <c:v>38913</c:v>
                </c:pt>
                <c:pt idx="251">
                  <c:v>38919</c:v>
                </c:pt>
                <c:pt idx="252">
                  <c:v>38925</c:v>
                </c:pt>
                <c:pt idx="253">
                  <c:v>38925</c:v>
                </c:pt>
                <c:pt idx="254">
                  <c:v>38929</c:v>
                </c:pt>
                <c:pt idx="255">
                  <c:v>38933</c:v>
                </c:pt>
                <c:pt idx="256">
                  <c:v>38934</c:v>
                </c:pt>
                <c:pt idx="257">
                  <c:v>38934</c:v>
                </c:pt>
                <c:pt idx="258">
                  <c:v>38941</c:v>
                </c:pt>
                <c:pt idx="259">
                  <c:v>38945</c:v>
                </c:pt>
                <c:pt idx="260">
                  <c:v>38948</c:v>
                </c:pt>
                <c:pt idx="261">
                  <c:v>38951</c:v>
                </c:pt>
                <c:pt idx="262">
                  <c:v>38951</c:v>
                </c:pt>
                <c:pt idx="263">
                  <c:v>38951</c:v>
                </c:pt>
                <c:pt idx="264">
                  <c:v>38951</c:v>
                </c:pt>
                <c:pt idx="265">
                  <c:v>38955</c:v>
                </c:pt>
                <c:pt idx="266">
                  <c:v>38956</c:v>
                </c:pt>
                <c:pt idx="267">
                  <c:v>38957</c:v>
                </c:pt>
                <c:pt idx="268">
                  <c:v>38958</c:v>
                </c:pt>
                <c:pt idx="269">
                  <c:v>38958</c:v>
                </c:pt>
                <c:pt idx="270">
                  <c:v>38958</c:v>
                </c:pt>
                <c:pt idx="271">
                  <c:v>38958</c:v>
                </c:pt>
                <c:pt idx="272">
                  <c:v>38958</c:v>
                </c:pt>
                <c:pt idx="273">
                  <c:v>38958</c:v>
                </c:pt>
                <c:pt idx="274">
                  <c:v>38961</c:v>
                </c:pt>
                <c:pt idx="275">
                  <c:v>38963</c:v>
                </c:pt>
                <c:pt idx="276">
                  <c:v>38963</c:v>
                </c:pt>
                <c:pt idx="277">
                  <c:v>38963</c:v>
                </c:pt>
                <c:pt idx="278">
                  <c:v>38963</c:v>
                </c:pt>
                <c:pt idx="279">
                  <c:v>38963</c:v>
                </c:pt>
                <c:pt idx="280">
                  <c:v>38963</c:v>
                </c:pt>
                <c:pt idx="281">
                  <c:v>38963</c:v>
                </c:pt>
                <c:pt idx="282">
                  <c:v>38963</c:v>
                </c:pt>
                <c:pt idx="283">
                  <c:v>38964</c:v>
                </c:pt>
                <c:pt idx="284">
                  <c:v>38964</c:v>
                </c:pt>
                <c:pt idx="285">
                  <c:v>38964</c:v>
                </c:pt>
                <c:pt idx="286">
                  <c:v>38964</c:v>
                </c:pt>
                <c:pt idx="287">
                  <c:v>38964</c:v>
                </c:pt>
                <c:pt idx="288">
                  <c:v>38964</c:v>
                </c:pt>
                <c:pt idx="289">
                  <c:v>38965</c:v>
                </c:pt>
                <c:pt idx="290">
                  <c:v>38965</c:v>
                </c:pt>
                <c:pt idx="291">
                  <c:v>38965</c:v>
                </c:pt>
                <c:pt idx="292">
                  <c:v>38965</c:v>
                </c:pt>
                <c:pt idx="293">
                  <c:v>38965</c:v>
                </c:pt>
                <c:pt idx="294">
                  <c:v>38965</c:v>
                </c:pt>
                <c:pt idx="295">
                  <c:v>38966</c:v>
                </c:pt>
                <c:pt idx="296">
                  <c:v>38967</c:v>
                </c:pt>
                <c:pt idx="297">
                  <c:v>38967</c:v>
                </c:pt>
                <c:pt idx="298">
                  <c:v>38967</c:v>
                </c:pt>
                <c:pt idx="299">
                  <c:v>38967</c:v>
                </c:pt>
                <c:pt idx="300">
                  <c:v>38967</c:v>
                </c:pt>
                <c:pt idx="301">
                  <c:v>38967</c:v>
                </c:pt>
                <c:pt idx="302">
                  <c:v>38968</c:v>
                </c:pt>
                <c:pt idx="303">
                  <c:v>38969</c:v>
                </c:pt>
                <c:pt idx="304">
                  <c:v>38969</c:v>
                </c:pt>
                <c:pt idx="305">
                  <c:v>38969</c:v>
                </c:pt>
                <c:pt idx="306">
                  <c:v>38970</c:v>
                </c:pt>
                <c:pt idx="307">
                  <c:v>38970</c:v>
                </c:pt>
                <c:pt idx="308">
                  <c:v>38970</c:v>
                </c:pt>
                <c:pt idx="309">
                  <c:v>38970</c:v>
                </c:pt>
                <c:pt idx="310">
                  <c:v>38971</c:v>
                </c:pt>
                <c:pt idx="311">
                  <c:v>38971</c:v>
                </c:pt>
                <c:pt idx="312">
                  <c:v>38971</c:v>
                </c:pt>
                <c:pt idx="313">
                  <c:v>38972</c:v>
                </c:pt>
                <c:pt idx="314">
                  <c:v>38972</c:v>
                </c:pt>
                <c:pt idx="315">
                  <c:v>38972</c:v>
                </c:pt>
                <c:pt idx="316">
                  <c:v>38972</c:v>
                </c:pt>
                <c:pt idx="317">
                  <c:v>38972</c:v>
                </c:pt>
                <c:pt idx="318">
                  <c:v>38972</c:v>
                </c:pt>
                <c:pt idx="319">
                  <c:v>38972</c:v>
                </c:pt>
                <c:pt idx="320">
                  <c:v>38972</c:v>
                </c:pt>
                <c:pt idx="321">
                  <c:v>38972</c:v>
                </c:pt>
                <c:pt idx="322">
                  <c:v>38972</c:v>
                </c:pt>
                <c:pt idx="323">
                  <c:v>38973</c:v>
                </c:pt>
                <c:pt idx="324">
                  <c:v>38973</c:v>
                </c:pt>
                <c:pt idx="325">
                  <c:v>38973</c:v>
                </c:pt>
                <c:pt idx="326">
                  <c:v>38974</c:v>
                </c:pt>
                <c:pt idx="327">
                  <c:v>38974</c:v>
                </c:pt>
                <c:pt idx="328">
                  <c:v>38974</c:v>
                </c:pt>
                <c:pt idx="329">
                  <c:v>38975</c:v>
                </c:pt>
                <c:pt idx="330">
                  <c:v>38977</c:v>
                </c:pt>
                <c:pt idx="331">
                  <c:v>38977</c:v>
                </c:pt>
                <c:pt idx="332">
                  <c:v>38977</c:v>
                </c:pt>
                <c:pt idx="333">
                  <c:v>38977</c:v>
                </c:pt>
                <c:pt idx="334">
                  <c:v>38977</c:v>
                </c:pt>
                <c:pt idx="335">
                  <c:v>38977</c:v>
                </c:pt>
                <c:pt idx="336">
                  <c:v>38977</c:v>
                </c:pt>
                <c:pt idx="337">
                  <c:v>38977</c:v>
                </c:pt>
                <c:pt idx="338">
                  <c:v>38977</c:v>
                </c:pt>
                <c:pt idx="339">
                  <c:v>38977</c:v>
                </c:pt>
                <c:pt idx="340">
                  <c:v>38977</c:v>
                </c:pt>
                <c:pt idx="341">
                  <c:v>38978</c:v>
                </c:pt>
                <c:pt idx="342">
                  <c:v>38978</c:v>
                </c:pt>
                <c:pt idx="343">
                  <c:v>38978</c:v>
                </c:pt>
                <c:pt idx="344">
                  <c:v>38979</c:v>
                </c:pt>
                <c:pt idx="345">
                  <c:v>38979</c:v>
                </c:pt>
                <c:pt idx="346">
                  <c:v>38979</c:v>
                </c:pt>
                <c:pt idx="347">
                  <c:v>38979</c:v>
                </c:pt>
                <c:pt idx="348">
                  <c:v>38979</c:v>
                </c:pt>
                <c:pt idx="349">
                  <c:v>38980</c:v>
                </c:pt>
                <c:pt idx="350">
                  <c:v>38981</c:v>
                </c:pt>
                <c:pt idx="351">
                  <c:v>38981</c:v>
                </c:pt>
                <c:pt idx="352">
                  <c:v>38982</c:v>
                </c:pt>
                <c:pt idx="353">
                  <c:v>38982</c:v>
                </c:pt>
                <c:pt idx="354">
                  <c:v>38982</c:v>
                </c:pt>
                <c:pt idx="355">
                  <c:v>38982</c:v>
                </c:pt>
                <c:pt idx="356">
                  <c:v>38985</c:v>
                </c:pt>
                <c:pt idx="357">
                  <c:v>38985</c:v>
                </c:pt>
                <c:pt idx="358">
                  <c:v>38985</c:v>
                </c:pt>
                <c:pt idx="359">
                  <c:v>38986</c:v>
                </c:pt>
                <c:pt idx="360">
                  <c:v>38987</c:v>
                </c:pt>
                <c:pt idx="361">
                  <c:v>38988</c:v>
                </c:pt>
                <c:pt idx="362">
                  <c:v>38988</c:v>
                </c:pt>
                <c:pt idx="363">
                  <c:v>38988</c:v>
                </c:pt>
                <c:pt idx="364">
                  <c:v>38988</c:v>
                </c:pt>
                <c:pt idx="365">
                  <c:v>38991</c:v>
                </c:pt>
                <c:pt idx="366">
                  <c:v>38996</c:v>
                </c:pt>
                <c:pt idx="367">
                  <c:v>38999</c:v>
                </c:pt>
                <c:pt idx="368">
                  <c:v>39000</c:v>
                </c:pt>
                <c:pt idx="369">
                  <c:v>39000</c:v>
                </c:pt>
                <c:pt idx="370">
                  <c:v>39005</c:v>
                </c:pt>
                <c:pt idx="371">
                  <c:v>39007</c:v>
                </c:pt>
                <c:pt idx="372">
                  <c:v>39008</c:v>
                </c:pt>
                <c:pt idx="373">
                  <c:v>39010</c:v>
                </c:pt>
                <c:pt idx="374">
                  <c:v>39010</c:v>
                </c:pt>
                <c:pt idx="375">
                  <c:v>39010</c:v>
                </c:pt>
                <c:pt idx="376">
                  <c:v>39011</c:v>
                </c:pt>
                <c:pt idx="377">
                  <c:v>39012</c:v>
                </c:pt>
                <c:pt idx="378">
                  <c:v>39013</c:v>
                </c:pt>
                <c:pt idx="379">
                  <c:v>39013</c:v>
                </c:pt>
                <c:pt idx="380">
                  <c:v>39013</c:v>
                </c:pt>
                <c:pt idx="381">
                  <c:v>39013</c:v>
                </c:pt>
                <c:pt idx="382">
                  <c:v>39014</c:v>
                </c:pt>
                <c:pt idx="383">
                  <c:v>39014</c:v>
                </c:pt>
                <c:pt idx="384">
                  <c:v>39019</c:v>
                </c:pt>
                <c:pt idx="385">
                  <c:v>39025</c:v>
                </c:pt>
                <c:pt idx="386">
                  <c:v>39028</c:v>
                </c:pt>
                <c:pt idx="387">
                  <c:v>39028</c:v>
                </c:pt>
                <c:pt idx="388">
                  <c:v>39028</c:v>
                </c:pt>
                <c:pt idx="389">
                  <c:v>39029</c:v>
                </c:pt>
                <c:pt idx="390">
                  <c:v>39030</c:v>
                </c:pt>
                <c:pt idx="391">
                  <c:v>39037</c:v>
                </c:pt>
                <c:pt idx="392">
                  <c:v>39039</c:v>
                </c:pt>
                <c:pt idx="393">
                  <c:v>39047</c:v>
                </c:pt>
                <c:pt idx="394">
                  <c:v>39050</c:v>
                </c:pt>
                <c:pt idx="395">
                  <c:v>39053</c:v>
                </c:pt>
                <c:pt idx="396">
                  <c:v>39054</c:v>
                </c:pt>
                <c:pt idx="397">
                  <c:v>39055</c:v>
                </c:pt>
                <c:pt idx="398">
                  <c:v>39060</c:v>
                </c:pt>
                <c:pt idx="399">
                  <c:v>39067</c:v>
                </c:pt>
                <c:pt idx="400">
                  <c:v>39080</c:v>
                </c:pt>
                <c:pt idx="401">
                  <c:v>39083</c:v>
                </c:pt>
                <c:pt idx="402">
                  <c:v>39110</c:v>
                </c:pt>
                <c:pt idx="403">
                  <c:v>39112</c:v>
                </c:pt>
                <c:pt idx="404">
                  <c:v>39112</c:v>
                </c:pt>
                <c:pt idx="405">
                  <c:v>39115</c:v>
                </c:pt>
                <c:pt idx="406">
                  <c:v>39118</c:v>
                </c:pt>
                <c:pt idx="407">
                  <c:v>39139</c:v>
                </c:pt>
                <c:pt idx="408">
                  <c:v>39145</c:v>
                </c:pt>
                <c:pt idx="409">
                  <c:v>39153</c:v>
                </c:pt>
                <c:pt idx="410">
                  <c:v>39155</c:v>
                </c:pt>
                <c:pt idx="411">
                  <c:v>39156</c:v>
                </c:pt>
                <c:pt idx="412">
                  <c:v>39174</c:v>
                </c:pt>
                <c:pt idx="413">
                  <c:v>39185</c:v>
                </c:pt>
                <c:pt idx="414">
                  <c:v>39198</c:v>
                </c:pt>
                <c:pt idx="415">
                  <c:v>39207</c:v>
                </c:pt>
                <c:pt idx="416">
                  <c:v>39222</c:v>
                </c:pt>
                <c:pt idx="417">
                  <c:v>39223</c:v>
                </c:pt>
                <c:pt idx="418">
                  <c:v>39227</c:v>
                </c:pt>
                <c:pt idx="419">
                  <c:v>39258</c:v>
                </c:pt>
                <c:pt idx="420">
                  <c:v>39272</c:v>
                </c:pt>
                <c:pt idx="421">
                  <c:v>39298</c:v>
                </c:pt>
                <c:pt idx="422">
                  <c:v>39301</c:v>
                </c:pt>
                <c:pt idx="423">
                  <c:v>39327</c:v>
                </c:pt>
                <c:pt idx="424">
                  <c:v>39339</c:v>
                </c:pt>
                <c:pt idx="425">
                  <c:v>39354</c:v>
                </c:pt>
                <c:pt idx="426">
                  <c:v>39429</c:v>
                </c:pt>
                <c:pt idx="427">
                  <c:v>39467</c:v>
                </c:pt>
                <c:pt idx="428">
                  <c:v>39502</c:v>
                </c:pt>
                <c:pt idx="429">
                  <c:v>39574</c:v>
                </c:pt>
                <c:pt idx="430">
                  <c:v>39624</c:v>
                </c:pt>
                <c:pt idx="431">
                  <c:v>39643</c:v>
                </c:pt>
                <c:pt idx="432">
                  <c:v>39653</c:v>
                </c:pt>
                <c:pt idx="433">
                  <c:v>39733</c:v>
                </c:pt>
                <c:pt idx="434">
                  <c:v>39787</c:v>
                </c:pt>
                <c:pt idx="435">
                  <c:v>39828</c:v>
                </c:pt>
                <c:pt idx="436">
                  <c:v>39877</c:v>
                </c:pt>
                <c:pt idx="437">
                  <c:v>39926</c:v>
                </c:pt>
                <c:pt idx="438">
                  <c:v>39956</c:v>
                </c:pt>
                <c:pt idx="439">
                  <c:v>39981</c:v>
                </c:pt>
                <c:pt idx="440">
                  <c:v>40072</c:v>
                </c:pt>
                <c:pt idx="441">
                  <c:v>40137</c:v>
                </c:pt>
                <c:pt idx="442">
                  <c:v>40178</c:v>
                </c:pt>
                <c:pt idx="443">
                  <c:v>40278</c:v>
                </c:pt>
                <c:pt idx="444">
                  <c:v>40432</c:v>
                </c:pt>
                <c:pt idx="445">
                  <c:v>40479</c:v>
                </c:pt>
                <c:pt idx="446">
                  <c:v>40501</c:v>
                </c:pt>
                <c:pt idx="447">
                  <c:v>40587</c:v>
                </c:pt>
                <c:pt idx="448">
                  <c:v>40668</c:v>
                </c:pt>
                <c:pt idx="449">
                  <c:v>40761</c:v>
                </c:pt>
                <c:pt idx="450">
                  <c:v>40844</c:v>
                </c:pt>
                <c:pt idx="451">
                  <c:v>40945</c:v>
                </c:pt>
                <c:pt idx="452">
                  <c:v>40974</c:v>
                </c:pt>
                <c:pt idx="453">
                  <c:v>40990</c:v>
                </c:pt>
                <c:pt idx="454">
                  <c:v>41050</c:v>
                </c:pt>
                <c:pt idx="455">
                  <c:v>41123</c:v>
                </c:pt>
                <c:pt idx="456">
                  <c:v>41173</c:v>
                </c:pt>
                <c:pt idx="457">
                  <c:v>41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B$2:$B$459</c:f>
              <c:numCache>
                <c:formatCode>General</c:formatCode>
                <c:ptCount val="45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6</c:v>
                </c:pt>
                <c:pt idx="31">
                  <c:v>119</c:v>
                </c:pt>
                <c:pt idx="32">
                  <c:v>154</c:v>
                </c:pt>
                <c:pt idx="33">
                  <c:v>206</c:v>
                </c:pt>
                <c:pt idx="34">
                  <c:v>360</c:v>
                </c:pt>
                <c:pt idx="35">
                  <c:v>431</c:v>
                </c:pt>
                <c:pt idx="36">
                  <c:v>469</c:v>
                </c:pt>
                <c:pt idx="37">
                  <c:v>537</c:v>
                </c:pt>
                <c:pt idx="38">
                  <c:v>669</c:v>
                </c:pt>
                <c:pt idx="39">
                  <c:v>689</c:v>
                </c:pt>
                <c:pt idx="40">
                  <c:v>656</c:v>
                </c:pt>
                <c:pt idx="41">
                  <c:v>769</c:v>
                </c:pt>
                <c:pt idx="42">
                  <c:v>939</c:v>
                </c:pt>
                <c:pt idx="43">
                  <c:v>1069</c:v>
                </c:pt>
                <c:pt idx="44">
                  <c:v>1235</c:v>
                </c:pt>
                <c:pt idx="45">
                  <c:v>1364</c:v>
                </c:pt>
                <c:pt idx="46">
                  <c:v>1440</c:v>
                </c:pt>
                <c:pt idx="47">
                  <c:v>1394</c:v>
                </c:pt>
                <c:pt idx="48">
                  <c:v>1564</c:v>
                </c:pt>
                <c:pt idx="49">
                  <c:v>1677</c:v>
                </c:pt>
                <c:pt idx="50">
                  <c:v>1955</c:v>
                </c:pt>
                <c:pt idx="51">
                  <c:v>2111</c:v>
                </c:pt>
                <c:pt idx="52">
                  <c:v>2397</c:v>
                </c:pt>
                <c:pt idx="53">
                  <c:v>2479</c:v>
                </c:pt>
                <c:pt idx="54">
                  <c:v>2522</c:v>
                </c:pt>
                <c:pt idx="55">
                  <c:v>2702</c:v>
                </c:pt>
                <c:pt idx="56">
                  <c:v>3031</c:v>
                </c:pt>
                <c:pt idx="57">
                  <c:v>3056</c:v>
                </c:pt>
                <c:pt idx="58">
                  <c:v>3493</c:v>
                </c:pt>
                <c:pt idx="59">
                  <c:v>3789</c:v>
                </c:pt>
                <c:pt idx="60">
                  <c:v>3876</c:v>
                </c:pt>
                <c:pt idx="61">
                  <c:v>3772</c:v>
                </c:pt>
                <c:pt idx="62">
                  <c:v>3834</c:v>
                </c:pt>
                <c:pt idx="63">
                  <c:v>3762</c:v>
                </c:pt>
                <c:pt idx="64">
                  <c:v>3973</c:v>
                </c:pt>
                <c:pt idx="65">
                  <c:v>4302</c:v>
                </c:pt>
                <c:pt idx="66">
                  <c:v>4161</c:v>
                </c:pt>
                <c:pt idx="67">
                  <c:v>3812</c:v>
                </c:pt>
                <c:pt idx="68">
                  <c:v>3731</c:v>
                </c:pt>
                <c:pt idx="69">
                  <c:v>3485</c:v>
                </c:pt>
                <c:pt idx="70">
                  <c:v>3366</c:v>
                </c:pt>
                <c:pt idx="71">
                  <c:v>3784</c:v>
                </c:pt>
                <c:pt idx="72">
                  <c:v>4165</c:v>
                </c:pt>
                <c:pt idx="73">
                  <c:v>4214</c:v>
                </c:pt>
                <c:pt idx="74">
                  <c:v>3871</c:v>
                </c:pt>
                <c:pt idx="75">
                  <c:v>3758</c:v>
                </c:pt>
                <c:pt idx="76">
                  <c:v>3771</c:v>
                </c:pt>
                <c:pt idx="77">
                  <c:v>3557</c:v>
                </c:pt>
                <c:pt idx="78">
                  <c:v>3746</c:v>
                </c:pt>
                <c:pt idx="79">
                  <c:v>3896</c:v>
                </c:pt>
                <c:pt idx="80">
                  <c:v>3951</c:v>
                </c:pt>
                <c:pt idx="81">
                  <c:v>3570</c:v>
                </c:pt>
                <c:pt idx="82">
                  <c:v>3294</c:v>
                </c:pt>
                <c:pt idx="83">
                  <c:v>3418</c:v>
                </c:pt>
                <c:pt idx="84">
                  <c:v>3133</c:v>
                </c:pt>
                <c:pt idx="85">
                  <c:v>3126</c:v>
                </c:pt>
                <c:pt idx="86">
                  <c:v>3219</c:v>
                </c:pt>
                <c:pt idx="87">
                  <c:v>2981</c:v>
                </c:pt>
                <c:pt idx="88">
                  <c:v>2949</c:v>
                </c:pt>
                <c:pt idx="89">
                  <c:v>2691</c:v>
                </c:pt>
                <c:pt idx="90">
                  <c:v>2591</c:v>
                </c:pt>
                <c:pt idx="91">
                  <c:v>2404</c:v>
                </c:pt>
                <c:pt idx="92">
                  <c:v>2436</c:v>
                </c:pt>
                <c:pt idx="93">
                  <c:v>2493</c:v>
                </c:pt>
                <c:pt idx="94">
                  <c:v>2382</c:v>
                </c:pt>
                <c:pt idx="95">
                  <c:v>2216</c:v>
                </c:pt>
                <c:pt idx="96">
                  <c:v>2063</c:v>
                </c:pt>
                <c:pt idx="97">
                  <c:v>2015</c:v>
                </c:pt>
                <c:pt idx="98">
                  <c:v>1870</c:v>
                </c:pt>
                <c:pt idx="99">
                  <c:v>1924</c:v>
                </c:pt>
                <c:pt idx="100">
                  <c:v>1975</c:v>
                </c:pt>
                <c:pt idx="101">
                  <c:v>1962</c:v>
                </c:pt>
                <c:pt idx="102">
                  <c:v>1870</c:v>
                </c:pt>
                <c:pt idx="103">
                  <c:v>1823</c:v>
                </c:pt>
                <c:pt idx="104">
                  <c:v>1831</c:v>
                </c:pt>
                <c:pt idx="105">
                  <c:v>1812</c:v>
                </c:pt>
                <c:pt idx="106">
                  <c:v>1813</c:v>
                </c:pt>
                <c:pt idx="107">
                  <c:v>1818</c:v>
                </c:pt>
                <c:pt idx="108">
                  <c:v>1859</c:v>
                </c:pt>
                <c:pt idx="109">
                  <c:v>1730</c:v>
                </c:pt>
                <c:pt idx="110">
                  <c:v>1663</c:v>
                </c:pt>
                <c:pt idx="111">
                  <c:v>1712</c:v>
                </c:pt>
                <c:pt idx="112">
                  <c:v>1725</c:v>
                </c:pt>
                <c:pt idx="113">
                  <c:v>1748</c:v>
                </c:pt>
                <c:pt idx="114">
                  <c:v>1714</c:v>
                </c:pt>
                <c:pt idx="115">
                  <c:v>1613</c:v>
                </c:pt>
                <c:pt idx="116">
                  <c:v>1588</c:v>
                </c:pt>
                <c:pt idx="117">
                  <c:v>1588</c:v>
                </c:pt>
                <c:pt idx="118">
                  <c:v>1632</c:v>
                </c:pt>
                <c:pt idx="119">
                  <c:v>1680</c:v>
                </c:pt>
                <c:pt idx="120">
                  <c:v>1778</c:v>
                </c:pt>
                <c:pt idx="121">
                  <c:v>1860</c:v>
                </c:pt>
                <c:pt idx="122">
                  <c:v>1726</c:v>
                </c:pt>
                <c:pt idx="123">
                  <c:v>1692</c:v>
                </c:pt>
                <c:pt idx="124">
                  <c:v>1526</c:v>
                </c:pt>
                <c:pt idx="125">
                  <c:v>1758</c:v>
                </c:pt>
                <c:pt idx="126">
                  <c:v>1846</c:v>
                </c:pt>
                <c:pt idx="127">
                  <c:v>1938</c:v>
                </c:pt>
                <c:pt idx="128">
                  <c:v>2080</c:v>
                </c:pt>
                <c:pt idx="129">
                  <c:v>2081</c:v>
                </c:pt>
                <c:pt idx="130">
                  <c:v>1948</c:v>
                </c:pt>
                <c:pt idx="131">
                  <c:v>1800</c:v>
                </c:pt>
                <c:pt idx="132">
                  <c:v>1941</c:v>
                </c:pt>
                <c:pt idx="133">
                  <c:v>2005</c:v>
                </c:pt>
                <c:pt idx="134">
                  <c:v>2108</c:v>
                </c:pt>
                <c:pt idx="135">
                  <c:v>2154</c:v>
                </c:pt>
                <c:pt idx="136">
                  <c:v>2069</c:v>
                </c:pt>
                <c:pt idx="137">
                  <c:v>1873</c:v>
                </c:pt>
                <c:pt idx="138">
                  <c:v>1717</c:v>
                </c:pt>
                <c:pt idx="139">
                  <c:v>1656</c:v>
                </c:pt>
                <c:pt idx="140">
                  <c:v>1543</c:v>
                </c:pt>
                <c:pt idx="141">
                  <c:v>1627</c:v>
                </c:pt>
                <c:pt idx="142">
                  <c:v>1697</c:v>
                </c:pt>
                <c:pt idx="143">
                  <c:v>1567</c:v>
                </c:pt>
                <c:pt idx="144">
                  <c:v>1502</c:v>
                </c:pt>
                <c:pt idx="145">
                  <c:v>1401</c:v>
                </c:pt>
                <c:pt idx="146">
                  <c:v>1363</c:v>
                </c:pt>
                <c:pt idx="147">
                  <c:v>1308</c:v>
                </c:pt>
                <c:pt idx="148">
                  <c:v>1359</c:v>
                </c:pt>
                <c:pt idx="149">
                  <c:v>1395</c:v>
                </c:pt>
                <c:pt idx="150">
                  <c:v>1253</c:v>
                </c:pt>
                <c:pt idx="151">
                  <c:v>1210</c:v>
                </c:pt>
                <c:pt idx="152">
                  <c:v>1073</c:v>
                </c:pt>
                <c:pt idx="153">
                  <c:v>1100</c:v>
                </c:pt>
                <c:pt idx="154">
                  <c:v>1123</c:v>
                </c:pt>
                <c:pt idx="155">
                  <c:v>1178</c:v>
                </c:pt>
                <c:pt idx="156">
                  <c:v>1207</c:v>
                </c:pt>
                <c:pt idx="157">
                  <c:v>1178</c:v>
                </c:pt>
                <c:pt idx="158">
                  <c:v>1116</c:v>
                </c:pt>
                <c:pt idx="159">
                  <c:v>1062</c:v>
                </c:pt>
                <c:pt idx="160">
                  <c:v>1077</c:v>
                </c:pt>
                <c:pt idx="161">
                  <c:v>1071</c:v>
                </c:pt>
                <c:pt idx="162">
                  <c:v>1092</c:v>
                </c:pt>
                <c:pt idx="163">
                  <c:v>1138</c:v>
                </c:pt>
                <c:pt idx="164">
                  <c:v>1103</c:v>
                </c:pt>
                <c:pt idx="165">
                  <c:v>982</c:v>
                </c:pt>
                <c:pt idx="166">
                  <c:v>890</c:v>
                </c:pt>
                <c:pt idx="167">
                  <c:v>869</c:v>
                </c:pt>
                <c:pt idx="168">
                  <c:v>784</c:v>
                </c:pt>
                <c:pt idx="169">
                  <c:v>763</c:v>
                </c:pt>
                <c:pt idx="170">
                  <c:v>777</c:v>
                </c:pt>
                <c:pt idx="171">
                  <c:v>718</c:v>
                </c:pt>
                <c:pt idx="172">
                  <c:v>657</c:v>
                </c:pt>
                <c:pt idx="173">
                  <c:v>585</c:v>
                </c:pt>
                <c:pt idx="174">
                  <c:v>629</c:v>
                </c:pt>
                <c:pt idx="175">
                  <c:v>603</c:v>
                </c:pt>
                <c:pt idx="176">
                  <c:v>614</c:v>
                </c:pt>
                <c:pt idx="177">
                  <c:v>644</c:v>
                </c:pt>
                <c:pt idx="178">
                  <c:v>632</c:v>
                </c:pt>
                <c:pt idx="179">
                  <c:v>600</c:v>
                </c:pt>
                <c:pt idx="180">
                  <c:v>581</c:v>
                </c:pt>
                <c:pt idx="181">
                  <c:v>629</c:v>
                </c:pt>
                <c:pt idx="182">
                  <c:v>595</c:v>
                </c:pt>
                <c:pt idx="183">
                  <c:v>602</c:v>
                </c:pt>
                <c:pt idx="184">
                  <c:v>594</c:v>
                </c:pt>
                <c:pt idx="185">
                  <c:v>527</c:v>
                </c:pt>
                <c:pt idx="186">
                  <c:v>498</c:v>
                </c:pt>
                <c:pt idx="187">
                  <c:v>454</c:v>
                </c:pt>
                <c:pt idx="188">
                  <c:v>449</c:v>
                </c:pt>
                <c:pt idx="189">
                  <c:v>466</c:v>
                </c:pt>
                <c:pt idx="190">
                  <c:v>507</c:v>
                </c:pt>
                <c:pt idx="191">
                  <c:v>506</c:v>
                </c:pt>
                <c:pt idx="192">
                  <c:v>527</c:v>
                </c:pt>
                <c:pt idx="193">
                  <c:v>524</c:v>
                </c:pt>
                <c:pt idx="194">
                  <c:v>524</c:v>
                </c:pt>
                <c:pt idx="195">
                  <c:v>546</c:v>
                </c:pt>
                <c:pt idx="196">
                  <c:v>482</c:v>
                </c:pt>
                <c:pt idx="197">
                  <c:v>461</c:v>
                </c:pt>
                <c:pt idx="198">
                  <c:v>448</c:v>
                </c:pt>
                <c:pt idx="199">
                  <c:v>448</c:v>
                </c:pt>
                <c:pt idx="200">
                  <c:v>428</c:v>
                </c:pt>
                <c:pt idx="201">
                  <c:v>427</c:v>
                </c:pt>
                <c:pt idx="202">
                  <c:v>433</c:v>
                </c:pt>
                <c:pt idx="203">
                  <c:v>433</c:v>
                </c:pt>
                <c:pt idx="204">
                  <c:v>398</c:v>
                </c:pt>
                <c:pt idx="205">
                  <c:v>394</c:v>
                </c:pt>
                <c:pt idx="206">
                  <c:v>376</c:v>
                </c:pt>
                <c:pt idx="207">
                  <c:v>342</c:v>
                </c:pt>
                <c:pt idx="208">
                  <c:v>341</c:v>
                </c:pt>
                <c:pt idx="209">
                  <c:v>353</c:v>
                </c:pt>
                <c:pt idx="210">
                  <c:v>321</c:v>
                </c:pt>
                <c:pt idx="211">
                  <c:v>312</c:v>
                </c:pt>
                <c:pt idx="212">
                  <c:v>297</c:v>
                </c:pt>
                <c:pt idx="213">
                  <c:v>268</c:v>
                </c:pt>
                <c:pt idx="214">
                  <c:v>258</c:v>
                </c:pt>
                <c:pt idx="215">
                  <c:v>257</c:v>
                </c:pt>
                <c:pt idx="216">
                  <c:v>255</c:v>
                </c:pt>
                <c:pt idx="217">
                  <c:v>225</c:v>
                </c:pt>
                <c:pt idx="218">
                  <c:v>222</c:v>
                </c:pt>
                <c:pt idx="219">
                  <c:v>207</c:v>
                </c:pt>
                <c:pt idx="220">
                  <c:v>178</c:v>
                </c:pt>
                <c:pt idx="221">
                  <c:v>173</c:v>
                </c:pt>
                <c:pt idx="222">
                  <c:v>172</c:v>
                </c:pt>
                <c:pt idx="223">
                  <c:v>171</c:v>
                </c:pt>
                <c:pt idx="224">
                  <c:v>161</c:v>
                </c:pt>
                <c:pt idx="225">
                  <c:v>139</c:v>
                </c:pt>
                <c:pt idx="226">
                  <c:v>129</c:v>
                </c:pt>
                <c:pt idx="227">
                  <c:v>115</c:v>
                </c:pt>
                <c:pt idx="228">
                  <c:v>113</c:v>
                </c:pt>
                <c:pt idx="229">
                  <c:v>114</c:v>
                </c:pt>
                <c:pt idx="230">
                  <c:v>118</c:v>
                </c:pt>
                <c:pt idx="231">
                  <c:v>112</c:v>
                </c:pt>
                <c:pt idx="232">
                  <c:v>105</c:v>
                </c:pt>
                <c:pt idx="233">
                  <c:v>104</c:v>
                </c:pt>
                <c:pt idx="234">
                  <c:v>106</c:v>
                </c:pt>
                <c:pt idx="235">
                  <c:v>100</c:v>
                </c:pt>
                <c:pt idx="236">
                  <c:v>99</c:v>
                </c:pt>
                <c:pt idx="237">
                  <c:v>99</c:v>
                </c:pt>
                <c:pt idx="238">
                  <c:v>97</c:v>
                </c:pt>
                <c:pt idx="239">
                  <c:v>96</c:v>
                </c:pt>
                <c:pt idx="240">
                  <c:v>95</c:v>
                </c:pt>
                <c:pt idx="241">
                  <c:v>95</c:v>
                </c:pt>
                <c:pt idx="242">
                  <c:v>89</c:v>
                </c:pt>
                <c:pt idx="243">
                  <c:v>89</c:v>
                </c:pt>
                <c:pt idx="244">
                  <c:v>89</c:v>
                </c:pt>
                <c:pt idx="245">
                  <c:v>86</c:v>
                </c:pt>
                <c:pt idx="246">
                  <c:v>82</c:v>
                </c:pt>
                <c:pt idx="247">
                  <c:v>76</c:v>
                </c:pt>
                <c:pt idx="248">
                  <c:v>75</c:v>
                </c:pt>
                <c:pt idx="249">
                  <c:v>69</c:v>
                </c:pt>
                <c:pt idx="250">
                  <c:v>72</c:v>
                </c:pt>
                <c:pt idx="251">
                  <c:v>75</c:v>
                </c:pt>
                <c:pt idx="252">
                  <c:v>75</c:v>
                </c:pt>
                <c:pt idx="253">
                  <c:v>72</c:v>
                </c:pt>
                <c:pt idx="254">
                  <c:v>71</c:v>
                </c:pt>
                <c:pt idx="255">
                  <c:v>70</c:v>
                </c:pt>
                <c:pt idx="256">
                  <c:v>68</c:v>
                </c:pt>
                <c:pt idx="257">
                  <c:v>67</c:v>
                </c:pt>
                <c:pt idx="258">
                  <c:v>69</c:v>
                </c:pt>
                <c:pt idx="259">
                  <c:v>65</c:v>
                </c:pt>
                <c:pt idx="260">
                  <c:v>67</c:v>
                </c:pt>
                <c:pt idx="261">
                  <c:v>64</c:v>
                </c:pt>
                <c:pt idx="262">
                  <c:v>64</c:v>
                </c:pt>
                <c:pt idx="263">
                  <c:v>63</c:v>
                </c:pt>
                <c:pt idx="264">
                  <c:v>62</c:v>
                </c:pt>
                <c:pt idx="265">
                  <c:v>63</c:v>
                </c:pt>
                <c:pt idx="266">
                  <c:v>62</c:v>
                </c:pt>
                <c:pt idx="267">
                  <c:v>61</c:v>
                </c:pt>
                <c:pt idx="268">
                  <c:v>59</c:v>
                </c:pt>
                <c:pt idx="269">
                  <c:v>58</c:v>
                </c:pt>
                <c:pt idx="270">
                  <c:v>58</c:v>
                </c:pt>
                <c:pt idx="271">
                  <c:v>55</c:v>
                </c:pt>
                <c:pt idx="272">
                  <c:v>54</c:v>
                </c:pt>
                <c:pt idx="273">
                  <c:v>53</c:v>
                </c:pt>
                <c:pt idx="274">
                  <c:v>56</c:v>
                </c:pt>
                <c:pt idx="275">
                  <c:v>52</c:v>
                </c:pt>
                <c:pt idx="276">
                  <c:v>48</c:v>
                </c:pt>
                <c:pt idx="277">
                  <c:v>47</c:v>
                </c:pt>
                <c:pt idx="278">
                  <c:v>47</c:v>
                </c:pt>
                <c:pt idx="279">
                  <c:v>47</c:v>
                </c:pt>
                <c:pt idx="280">
                  <c:v>47</c:v>
                </c:pt>
                <c:pt idx="281">
                  <c:v>46</c:v>
                </c:pt>
                <c:pt idx="282">
                  <c:v>45</c:v>
                </c:pt>
                <c:pt idx="283">
                  <c:v>46</c:v>
                </c:pt>
                <c:pt idx="284">
                  <c:v>43</c:v>
                </c:pt>
                <c:pt idx="285">
                  <c:v>43</c:v>
                </c:pt>
                <c:pt idx="286">
                  <c:v>43</c:v>
                </c:pt>
                <c:pt idx="287">
                  <c:v>43</c:v>
                </c:pt>
                <c:pt idx="288">
                  <c:v>43</c:v>
                </c:pt>
                <c:pt idx="289">
                  <c:v>43</c:v>
                </c:pt>
                <c:pt idx="290">
                  <c:v>43</c:v>
                </c:pt>
                <c:pt idx="291">
                  <c:v>43</c:v>
                </c:pt>
                <c:pt idx="292">
                  <c:v>43</c:v>
                </c:pt>
                <c:pt idx="293">
                  <c:v>43</c:v>
                </c:pt>
                <c:pt idx="294">
                  <c:v>43</c:v>
                </c:pt>
                <c:pt idx="295">
                  <c:v>44</c:v>
                </c:pt>
                <c:pt idx="296">
                  <c:v>44</c:v>
                </c:pt>
                <c:pt idx="297">
                  <c:v>43</c:v>
                </c:pt>
                <c:pt idx="298">
                  <c:v>43</c:v>
                </c:pt>
                <c:pt idx="299">
                  <c:v>43</c:v>
                </c:pt>
                <c:pt idx="300">
                  <c:v>43</c:v>
                </c:pt>
                <c:pt idx="301">
                  <c:v>43</c:v>
                </c:pt>
                <c:pt idx="302">
                  <c:v>42</c:v>
                </c:pt>
                <c:pt idx="303">
                  <c:v>43</c:v>
                </c:pt>
                <c:pt idx="304">
                  <c:v>41</c:v>
                </c:pt>
                <c:pt idx="305">
                  <c:v>41</c:v>
                </c:pt>
                <c:pt idx="306">
                  <c:v>42</c:v>
                </c:pt>
                <c:pt idx="307">
                  <c:v>42</c:v>
                </c:pt>
                <c:pt idx="308">
                  <c:v>42</c:v>
                </c:pt>
                <c:pt idx="309">
                  <c:v>42</c:v>
                </c:pt>
                <c:pt idx="310">
                  <c:v>41</c:v>
                </c:pt>
                <c:pt idx="311">
                  <c:v>41</c:v>
                </c:pt>
                <c:pt idx="312">
                  <c:v>41</c:v>
                </c:pt>
                <c:pt idx="313">
                  <c:v>41</c:v>
                </c:pt>
                <c:pt idx="314">
                  <c:v>41</c:v>
                </c:pt>
                <c:pt idx="315">
                  <c:v>41</c:v>
                </c:pt>
                <c:pt idx="316">
                  <c:v>41</c:v>
                </c:pt>
                <c:pt idx="317">
                  <c:v>41</c:v>
                </c:pt>
                <c:pt idx="318">
                  <c:v>41</c:v>
                </c:pt>
                <c:pt idx="319">
                  <c:v>41</c:v>
                </c:pt>
                <c:pt idx="320">
                  <c:v>41</c:v>
                </c:pt>
                <c:pt idx="321">
                  <c:v>41</c:v>
                </c:pt>
                <c:pt idx="322">
                  <c:v>40</c:v>
                </c:pt>
                <c:pt idx="323">
                  <c:v>40</c:v>
                </c:pt>
                <c:pt idx="324">
                  <c:v>40</c:v>
                </c:pt>
                <c:pt idx="325">
                  <c:v>40</c:v>
                </c:pt>
                <c:pt idx="326">
                  <c:v>41</c:v>
                </c:pt>
                <c:pt idx="327">
                  <c:v>40</c:v>
                </c:pt>
                <c:pt idx="328">
                  <c:v>40</c:v>
                </c:pt>
                <c:pt idx="329">
                  <c:v>40</c:v>
                </c:pt>
                <c:pt idx="330">
                  <c:v>40</c:v>
                </c:pt>
                <c:pt idx="331">
                  <c:v>40</c:v>
                </c:pt>
                <c:pt idx="332">
                  <c:v>39</c:v>
                </c:pt>
                <c:pt idx="333">
                  <c:v>39</c:v>
                </c:pt>
                <c:pt idx="334">
                  <c:v>39</c:v>
                </c:pt>
                <c:pt idx="335">
                  <c:v>39</c:v>
                </c:pt>
                <c:pt idx="336">
                  <c:v>38</c:v>
                </c:pt>
                <c:pt idx="337">
                  <c:v>38</c:v>
                </c:pt>
                <c:pt idx="338">
                  <c:v>38</c:v>
                </c:pt>
                <c:pt idx="339">
                  <c:v>38</c:v>
                </c:pt>
                <c:pt idx="340">
                  <c:v>38</c:v>
                </c:pt>
                <c:pt idx="341">
                  <c:v>38</c:v>
                </c:pt>
                <c:pt idx="342">
                  <c:v>38</c:v>
                </c:pt>
                <c:pt idx="343">
                  <c:v>38</c:v>
                </c:pt>
                <c:pt idx="344">
                  <c:v>38</c:v>
                </c:pt>
                <c:pt idx="345">
                  <c:v>38</c:v>
                </c:pt>
                <c:pt idx="346">
                  <c:v>38</c:v>
                </c:pt>
                <c:pt idx="347">
                  <c:v>38</c:v>
                </c:pt>
                <c:pt idx="348">
                  <c:v>38</c:v>
                </c:pt>
                <c:pt idx="349">
                  <c:v>39</c:v>
                </c:pt>
                <c:pt idx="350">
                  <c:v>40</c:v>
                </c:pt>
                <c:pt idx="351">
                  <c:v>40</c:v>
                </c:pt>
                <c:pt idx="352">
                  <c:v>41</c:v>
                </c:pt>
                <c:pt idx="353">
                  <c:v>40</c:v>
                </c:pt>
                <c:pt idx="354">
                  <c:v>40</c:v>
                </c:pt>
                <c:pt idx="355">
                  <c:v>40</c:v>
                </c:pt>
                <c:pt idx="356">
                  <c:v>42</c:v>
                </c:pt>
                <c:pt idx="357">
                  <c:v>42</c:v>
                </c:pt>
                <c:pt idx="358">
                  <c:v>42</c:v>
                </c:pt>
                <c:pt idx="359">
                  <c:v>42</c:v>
                </c:pt>
                <c:pt idx="360">
                  <c:v>42</c:v>
                </c:pt>
                <c:pt idx="361">
                  <c:v>41</c:v>
                </c:pt>
                <c:pt idx="362">
                  <c:v>41</c:v>
                </c:pt>
                <c:pt idx="363">
                  <c:v>41</c:v>
                </c:pt>
                <c:pt idx="364">
                  <c:v>41</c:v>
                </c:pt>
                <c:pt idx="365">
                  <c:v>42</c:v>
                </c:pt>
                <c:pt idx="366">
                  <c:v>46</c:v>
                </c:pt>
                <c:pt idx="367">
                  <c:v>48</c:v>
                </c:pt>
                <c:pt idx="368">
                  <c:v>49</c:v>
                </c:pt>
                <c:pt idx="369">
                  <c:v>48</c:v>
                </c:pt>
                <c:pt idx="370">
                  <c:v>52</c:v>
                </c:pt>
                <c:pt idx="371">
                  <c:v>49</c:v>
                </c:pt>
                <c:pt idx="372">
                  <c:v>49</c:v>
                </c:pt>
                <c:pt idx="373">
                  <c:v>49</c:v>
                </c:pt>
                <c:pt idx="374">
                  <c:v>49</c:v>
                </c:pt>
                <c:pt idx="375">
                  <c:v>49</c:v>
                </c:pt>
                <c:pt idx="376">
                  <c:v>49</c:v>
                </c:pt>
                <c:pt idx="377">
                  <c:v>50</c:v>
                </c:pt>
                <c:pt idx="378">
                  <c:v>50</c:v>
                </c:pt>
                <c:pt idx="379">
                  <c:v>50</c:v>
                </c:pt>
                <c:pt idx="380">
                  <c:v>49</c:v>
                </c:pt>
                <c:pt idx="381">
                  <c:v>47</c:v>
                </c:pt>
                <c:pt idx="382">
                  <c:v>47</c:v>
                </c:pt>
                <c:pt idx="383">
                  <c:v>47</c:v>
                </c:pt>
                <c:pt idx="384">
                  <c:v>48</c:v>
                </c:pt>
                <c:pt idx="385">
                  <c:v>44</c:v>
                </c:pt>
                <c:pt idx="386">
                  <c:v>45</c:v>
                </c:pt>
                <c:pt idx="387">
                  <c:v>43</c:v>
                </c:pt>
                <c:pt idx="388">
                  <c:v>43</c:v>
                </c:pt>
                <c:pt idx="389">
                  <c:v>43</c:v>
                </c:pt>
                <c:pt idx="390">
                  <c:v>43</c:v>
                </c:pt>
                <c:pt idx="391">
                  <c:v>45</c:v>
                </c:pt>
                <c:pt idx="392">
                  <c:v>43</c:v>
                </c:pt>
                <c:pt idx="393">
                  <c:v>44</c:v>
                </c:pt>
                <c:pt idx="394">
                  <c:v>44</c:v>
                </c:pt>
                <c:pt idx="395">
                  <c:v>45</c:v>
                </c:pt>
                <c:pt idx="396">
                  <c:v>46</c:v>
                </c:pt>
                <c:pt idx="397">
                  <c:v>47</c:v>
                </c:pt>
                <c:pt idx="398">
                  <c:v>49</c:v>
                </c:pt>
                <c:pt idx="399">
                  <c:v>51</c:v>
                </c:pt>
                <c:pt idx="400">
                  <c:v>59</c:v>
                </c:pt>
                <c:pt idx="401">
                  <c:v>58</c:v>
                </c:pt>
                <c:pt idx="402">
                  <c:v>83</c:v>
                </c:pt>
                <c:pt idx="403">
                  <c:v>83</c:v>
                </c:pt>
                <c:pt idx="404">
                  <c:v>83</c:v>
                </c:pt>
                <c:pt idx="405">
                  <c:v>84</c:v>
                </c:pt>
                <c:pt idx="406">
                  <c:v>84</c:v>
                </c:pt>
                <c:pt idx="407">
                  <c:v>103</c:v>
                </c:pt>
                <c:pt idx="408">
                  <c:v>105</c:v>
                </c:pt>
                <c:pt idx="409">
                  <c:v>105</c:v>
                </c:pt>
                <c:pt idx="410">
                  <c:v>105</c:v>
                </c:pt>
                <c:pt idx="411">
                  <c:v>104</c:v>
                </c:pt>
                <c:pt idx="412">
                  <c:v>108</c:v>
                </c:pt>
                <c:pt idx="413">
                  <c:v>108</c:v>
                </c:pt>
                <c:pt idx="414">
                  <c:v>103</c:v>
                </c:pt>
                <c:pt idx="415">
                  <c:v>103</c:v>
                </c:pt>
                <c:pt idx="416">
                  <c:v>86</c:v>
                </c:pt>
                <c:pt idx="417">
                  <c:v>85</c:v>
                </c:pt>
                <c:pt idx="418">
                  <c:v>83</c:v>
                </c:pt>
                <c:pt idx="419">
                  <c:v>96</c:v>
                </c:pt>
                <c:pt idx="420">
                  <c:v>104</c:v>
                </c:pt>
                <c:pt idx="421">
                  <c:v>111</c:v>
                </c:pt>
                <c:pt idx="422">
                  <c:v>95</c:v>
                </c:pt>
                <c:pt idx="423">
                  <c:v>113</c:v>
                </c:pt>
                <c:pt idx="424">
                  <c:v>116</c:v>
                </c:pt>
                <c:pt idx="425">
                  <c:v>125</c:v>
                </c:pt>
                <c:pt idx="426">
                  <c:v>160</c:v>
                </c:pt>
                <c:pt idx="427">
                  <c:v>170</c:v>
                </c:pt>
                <c:pt idx="428">
                  <c:v>175</c:v>
                </c:pt>
                <c:pt idx="429">
                  <c:v>218</c:v>
                </c:pt>
                <c:pt idx="430">
                  <c:v>237</c:v>
                </c:pt>
                <c:pt idx="431">
                  <c:v>231</c:v>
                </c:pt>
                <c:pt idx="432">
                  <c:v>230</c:v>
                </c:pt>
                <c:pt idx="433">
                  <c:v>255</c:v>
                </c:pt>
                <c:pt idx="434">
                  <c:v>268</c:v>
                </c:pt>
                <c:pt idx="435">
                  <c:v>274</c:v>
                </c:pt>
                <c:pt idx="436">
                  <c:v>282</c:v>
                </c:pt>
                <c:pt idx="437">
                  <c:v>294</c:v>
                </c:pt>
                <c:pt idx="438">
                  <c:v>292</c:v>
                </c:pt>
                <c:pt idx="439">
                  <c:v>294</c:v>
                </c:pt>
                <c:pt idx="440">
                  <c:v>322</c:v>
                </c:pt>
                <c:pt idx="441">
                  <c:v>318</c:v>
                </c:pt>
                <c:pt idx="442">
                  <c:v>324</c:v>
                </c:pt>
                <c:pt idx="443">
                  <c:v>359</c:v>
                </c:pt>
                <c:pt idx="444">
                  <c:v>423</c:v>
                </c:pt>
                <c:pt idx="445">
                  <c:v>425</c:v>
                </c:pt>
                <c:pt idx="446">
                  <c:v>428</c:v>
                </c:pt>
                <c:pt idx="447">
                  <c:v>457</c:v>
                </c:pt>
                <c:pt idx="448">
                  <c:v>447</c:v>
                </c:pt>
                <c:pt idx="449">
                  <c:v>450</c:v>
                </c:pt>
                <c:pt idx="450">
                  <c:v>458</c:v>
                </c:pt>
                <c:pt idx="451">
                  <c:v>488</c:v>
                </c:pt>
                <c:pt idx="452">
                  <c:v>475</c:v>
                </c:pt>
                <c:pt idx="453">
                  <c:v>473</c:v>
                </c:pt>
                <c:pt idx="454">
                  <c:v>488</c:v>
                </c:pt>
                <c:pt idx="455">
                  <c:v>489</c:v>
                </c:pt>
                <c:pt idx="456">
                  <c:v>469</c:v>
                </c:pt>
                <c:pt idx="457">
                  <c:v>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C$2:$C$459</c:f>
              <c:numCache>
                <c:formatCode>General</c:formatCode>
                <c:ptCount val="45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4</c:v>
                </c:pt>
                <c:pt idx="32">
                  <c:v>199</c:v>
                </c:pt>
                <c:pt idx="33">
                  <c:v>212</c:v>
                </c:pt>
                <c:pt idx="34">
                  <c:v>290</c:v>
                </c:pt>
                <c:pt idx="35">
                  <c:v>326</c:v>
                </c:pt>
                <c:pt idx="36">
                  <c:v>353</c:v>
                </c:pt>
                <c:pt idx="37">
                  <c:v>433</c:v>
                </c:pt>
                <c:pt idx="38">
                  <c:v>513</c:v>
                </c:pt>
                <c:pt idx="39">
                  <c:v>551</c:v>
                </c:pt>
                <c:pt idx="40">
                  <c:v>565</c:v>
                </c:pt>
                <c:pt idx="41">
                  <c:v>687</c:v>
                </c:pt>
                <c:pt idx="42">
                  <c:v>807</c:v>
                </c:pt>
                <c:pt idx="43">
                  <c:v>971</c:v>
                </c:pt>
                <c:pt idx="44">
                  <c:v>1137</c:v>
                </c:pt>
                <c:pt idx="45">
                  <c:v>1303</c:v>
                </c:pt>
                <c:pt idx="46">
                  <c:v>1369</c:v>
                </c:pt>
                <c:pt idx="47">
                  <c:v>1364</c:v>
                </c:pt>
                <c:pt idx="48">
                  <c:v>1498</c:v>
                </c:pt>
                <c:pt idx="49">
                  <c:v>1638</c:v>
                </c:pt>
                <c:pt idx="50">
                  <c:v>1854</c:v>
                </c:pt>
                <c:pt idx="51">
                  <c:v>2011</c:v>
                </c:pt>
                <c:pt idx="52">
                  <c:v>2269</c:v>
                </c:pt>
                <c:pt idx="53">
                  <c:v>2342</c:v>
                </c:pt>
                <c:pt idx="54">
                  <c:v>2307</c:v>
                </c:pt>
                <c:pt idx="55">
                  <c:v>2464</c:v>
                </c:pt>
                <c:pt idx="56">
                  <c:v>2633</c:v>
                </c:pt>
                <c:pt idx="57">
                  <c:v>2645</c:v>
                </c:pt>
                <c:pt idx="58">
                  <c:v>3039</c:v>
                </c:pt>
                <c:pt idx="59">
                  <c:v>3171</c:v>
                </c:pt>
                <c:pt idx="60">
                  <c:v>3084</c:v>
                </c:pt>
                <c:pt idx="61">
                  <c:v>2924</c:v>
                </c:pt>
                <c:pt idx="62">
                  <c:v>2937</c:v>
                </c:pt>
                <c:pt idx="63">
                  <c:v>2861</c:v>
                </c:pt>
                <c:pt idx="64">
                  <c:v>3047</c:v>
                </c:pt>
                <c:pt idx="65">
                  <c:v>3218</c:v>
                </c:pt>
                <c:pt idx="66">
                  <c:v>3037</c:v>
                </c:pt>
                <c:pt idx="67">
                  <c:v>2787</c:v>
                </c:pt>
                <c:pt idx="68">
                  <c:v>2687</c:v>
                </c:pt>
                <c:pt idx="69">
                  <c:v>2533</c:v>
                </c:pt>
                <c:pt idx="70">
                  <c:v>2389</c:v>
                </c:pt>
                <c:pt idx="71">
                  <c:v>2505</c:v>
                </c:pt>
                <c:pt idx="72">
                  <c:v>2625</c:v>
                </c:pt>
                <c:pt idx="73">
                  <c:v>2526</c:v>
                </c:pt>
                <c:pt idx="74">
                  <c:v>2324</c:v>
                </c:pt>
                <c:pt idx="75">
                  <c:v>2082</c:v>
                </c:pt>
                <c:pt idx="76">
                  <c:v>2034</c:v>
                </c:pt>
                <c:pt idx="77">
                  <c:v>1875</c:v>
                </c:pt>
                <c:pt idx="78">
                  <c:v>1973</c:v>
                </c:pt>
                <c:pt idx="79">
                  <c:v>2042</c:v>
                </c:pt>
                <c:pt idx="80">
                  <c:v>1987</c:v>
                </c:pt>
                <c:pt idx="81">
                  <c:v>1732</c:v>
                </c:pt>
                <c:pt idx="82">
                  <c:v>1547</c:v>
                </c:pt>
                <c:pt idx="83">
                  <c:v>1523</c:v>
                </c:pt>
                <c:pt idx="84">
                  <c:v>1458</c:v>
                </c:pt>
                <c:pt idx="85">
                  <c:v>1479</c:v>
                </c:pt>
                <c:pt idx="86">
                  <c:v>1501</c:v>
                </c:pt>
                <c:pt idx="87">
                  <c:v>1456</c:v>
                </c:pt>
                <c:pt idx="88">
                  <c:v>1419</c:v>
                </c:pt>
                <c:pt idx="89">
                  <c:v>1273</c:v>
                </c:pt>
                <c:pt idx="90">
                  <c:v>1247</c:v>
                </c:pt>
                <c:pt idx="91">
                  <c:v>1240</c:v>
                </c:pt>
                <c:pt idx="92">
                  <c:v>1286</c:v>
                </c:pt>
                <c:pt idx="93">
                  <c:v>1321</c:v>
                </c:pt>
                <c:pt idx="94">
                  <c:v>1255</c:v>
                </c:pt>
                <c:pt idx="95">
                  <c:v>1193</c:v>
                </c:pt>
                <c:pt idx="96">
                  <c:v>1119</c:v>
                </c:pt>
                <c:pt idx="97">
                  <c:v>1178</c:v>
                </c:pt>
                <c:pt idx="98">
                  <c:v>1165</c:v>
                </c:pt>
                <c:pt idx="99">
                  <c:v>1201</c:v>
                </c:pt>
                <c:pt idx="100">
                  <c:v>1247</c:v>
                </c:pt>
                <c:pt idx="101">
                  <c:v>1227</c:v>
                </c:pt>
                <c:pt idx="102">
                  <c:v>1156</c:v>
                </c:pt>
                <c:pt idx="103">
                  <c:v>1116</c:v>
                </c:pt>
                <c:pt idx="104">
                  <c:v>1149</c:v>
                </c:pt>
                <c:pt idx="105">
                  <c:v>1152</c:v>
                </c:pt>
                <c:pt idx="106">
                  <c:v>1219</c:v>
                </c:pt>
                <c:pt idx="107">
                  <c:v>1252</c:v>
                </c:pt>
                <c:pt idx="108">
                  <c:v>1195</c:v>
                </c:pt>
                <c:pt idx="109">
                  <c:v>1139</c:v>
                </c:pt>
                <c:pt idx="110">
                  <c:v>1089</c:v>
                </c:pt>
                <c:pt idx="111">
                  <c:v>1187</c:v>
                </c:pt>
                <c:pt idx="112">
                  <c:v>1233</c:v>
                </c:pt>
                <c:pt idx="113">
                  <c:v>1320</c:v>
                </c:pt>
                <c:pt idx="114">
                  <c:v>1335</c:v>
                </c:pt>
                <c:pt idx="115">
                  <c:v>1281</c:v>
                </c:pt>
                <c:pt idx="116">
                  <c:v>1237</c:v>
                </c:pt>
                <c:pt idx="117">
                  <c:v>1206</c:v>
                </c:pt>
                <c:pt idx="118">
                  <c:v>1316</c:v>
                </c:pt>
                <c:pt idx="119">
                  <c:v>1403</c:v>
                </c:pt>
                <c:pt idx="120">
                  <c:v>1478</c:v>
                </c:pt>
                <c:pt idx="121">
                  <c:v>1544</c:v>
                </c:pt>
                <c:pt idx="122">
                  <c:v>1448</c:v>
                </c:pt>
                <c:pt idx="123">
                  <c:v>1374</c:v>
                </c:pt>
                <c:pt idx="124">
                  <c:v>1307</c:v>
                </c:pt>
                <c:pt idx="125">
                  <c:v>1559</c:v>
                </c:pt>
                <c:pt idx="126">
                  <c:v>1679</c:v>
                </c:pt>
                <c:pt idx="127">
                  <c:v>1751</c:v>
                </c:pt>
                <c:pt idx="128">
                  <c:v>1811</c:v>
                </c:pt>
                <c:pt idx="129">
                  <c:v>1710</c:v>
                </c:pt>
                <c:pt idx="130">
                  <c:v>1595</c:v>
                </c:pt>
                <c:pt idx="131">
                  <c:v>1476</c:v>
                </c:pt>
                <c:pt idx="132">
                  <c:v>1619</c:v>
                </c:pt>
                <c:pt idx="133">
                  <c:v>1701</c:v>
                </c:pt>
                <c:pt idx="134">
                  <c:v>1770</c:v>
                </c:pt>
                <c:pt idx="135">
                  <c:v>1770</c:v>
                </c:pt>
                <c:pt idx="136">
                  <c:v>1628</c:v>
                </c:pt>
                <c:pt idx="137">
                  <c:v>1484</c:v>
                </c:pt>
                <c:pt idx="138">
                  <c:v>1376</c:v>
                </c:pt>
                <c:pt idx="139">
                  <c:v>1372</c:v>
                </c:pt>
                <c:pt idx="140">
                  <c:v>1322</c:v>
                </c:pt>
                <c:pt idx="141">
                  <c:v>1354</c:v>
                </c:pt>
                <c:pt idx="142">
                  <c:v>1381</c:v>
                </c:pt>
                <c:pt idx="143">
                  <c:v>1287</c:v>
                </c:pt>
                <c:pt idx="144">
                  <c:v>1211</c:v>
                </c:pt>
                <c:pt idx="145">
                  <c:v>1101</c:v>
                </c:pt>
                <c:pt idx="146">
                  <c:v>1114</c:v>
                </c:pt>
                <c:pt idx="147">
                  <c:v>1118</c:v>
                </c:pt>
                <c:pt idx="148">
                  <c:v>1145</c:v>
                </c:pt>
                <c:pt idx="149">
                  <c:v>1156</c:v>
                </c:pt>
                <c:pt idx="150">
                  <c:v>1072</c:v>
                </c:pt>
                <c:pt idx="151">
                  <c:v>1004</c:v>
                </c:pt>
                <c:pt idx="152">
                  <c:v>926</c:v>
                </c:pt>
                <c:pt idx="153">
                  <c:v>946</c:v>
                </c:pt>
                <c:pt idx="154">
                  <c:v>936</c:v>
                </c:pt>
                <c:pt idx="155">
                  <c:v>973</c:v>
                </c:pt>
                <c:pt idx="156">
                  <c:v>994</c:v>
                </c:pt>
                <c:pt idx="157">
                  <c:v>939</c:v>
                </c:pt>
                <c:pt idx="158">
                  <c:v>869</c:v>
                </c:pt>
                <c:pt idx="159">
                  <c:v>826</c:v>
                </c:pt>
                <c:pt idx="160">
                  <c:v>847</c:v>
                </c:pt>
                <c:pt idx="161">
                  <c:v>815</c:v>
                </c:pt>
                <c:pt idx="162">
                  <c:v>823</c:v>
                </c:pt>
                <c:pt idx="163">
                  <c:v>847</c:v>
                </c:pt>
                <c:pt idx="164">
                  <c:v>809</c:v>
                </c:pt>
                <c:pt idx="165">
                  <c:v>750</c:v>
                </c:pt>
                <c:pt idx="166">
                  <c:v>699</c:v>
                </c:pt>
                <c:pt idx="167">
                  <c:v>716</c:v>
                </c:pt>
                <c:pt idx="168">
                  <c:v>707</c:v>
                </c:pt>
                <c:pt idx="169">
                  <c:v>726</c:v>
                </c:pt>
                <c:pt idx="170">
                  <c:v>740</c:v>
                </c:pt>
                <c:pt idx="171">
                  <c:v>711</c:v>
                </c:pt>
                <c:pt idx="172">
                  <c:v>671</c:v>
                </c:pt>
                <c:pt idx="173">
                  <c:v>644</c:v>
                </c:pt>
                <c:pt idx="174">
                  <c:v>675</c:v>
                </c:pt>
                <c:pt idx="175">
                  <c:v>688</c:v>
                </c:pt>
                <c:pt idx="176">
                  <c:v>704</c:v>
                </c:pt>
                <c:pt idx="177">
                  <c:v>728</c:v>
                </c:pt>
                <c:pt idx="178">
                  <c:v>706</c:v>
                </c:pt>
                <c:pt idx="179">
                  <c:v>657</c:v>
                </c:pt>
                <c:pt idx="180">
                  <c:v>622</c:v>
                </c:pt>
                <c:pt idx="181">
                  <c:v>643</c:v>
                </c:pt>
                <c:pt idx="182">
                  <c:v>636</c:v>
                </c:pt>
                <c:pt idx="183">
                  <c:v>677</c:v>
                </c:pt>
                <c:pt idx="184">
                  <c:v>703</c:v>
                </c:pt>
                <c:pt idx="185">
                  <c:v>652</c:v>
                </c:pt>
                <c:pt idx="186">
                  <c:v>601</c:v>
                </c:pt>
                <c:pt idx="187">
                  <c:v>568</c:v>
                </c:pt>
                <c:pt idx="188">
                  <c:v>585</c:v>
                </c:pt>
                <c:pt idx="189">
                  <c:v>569</c:v>
                </c:pt>
                <c:pt idx="190">
                  <c:v>589</c:v>
                </c:pt>
                <c:pt idx="191">
                  <c:v>604</c:v>
                </c:pt>
                <c:pt idx="192">
                  <c:v>620</c:v>
                </c:pt>
                <c:pt idx="193">
                  <c:v>630</c:v>
                </c:pt>
                <c:pt idx="194">
                  <c:v>635</c:v>
                </c:pt>
                <c:pt idx="195">
                  <c:v>670</c:v>
                </c:pt>
                <c:pt idx="196">
                  <c:v>631</c:v>
                </c:pt>
                <c:pt idx="197">
                  <c:v>607</c:v>
                </c:pt>
                <c:pt idx="198">
                  <c:v>568</c:v>
                </c:pt>
                <c:pt idx="199">
                  <c:v>548</c:v>
                </c:pt>
                <c:pt idx="200">
                  <c:v>515</c:v>
                </c:pt>
                <c:pt idx="201">
                  <c:v>509</c:v>
                </c:pt>
                <c:pt idx="202">
                  <c:v>531</c:v>
                </c:pt>
                <c:pt idx="203">
                  <c:v>486</c:v>
                </c:pt>
                <c:pt idx="204">
                  <c:v>461</c:v>
                </c:pt>
                <c:pt idx="205">
                  <c:v>433</c:v>
                </c:pt>
                <c:pt idx="206">
                  <c:v>421</c:v>
                </c:pt>
                <c:pt idx="207">
                  <c:v>398</c:v>
                </c:pt>
                <c:pt idx="208">
                  <c:v>390</c:v>
                </c:pt>
                <c:pt idx="209">
                  <c:v>397</c:v>
                </c:pt>
                <c:pt idx="210">
                  <c:v>382</c:v>
                </c:pt>
                <c:pt idx="211">
                  <c:v>355</c:v>
                </c:pt>
                <c:pt idx="212">
                  <c:v>345</c:v>
                </c:pt>
                <c:pt idx="213">
                  <c:v>320</c:v>
                </c:pt>
                <c:pt idx="214">
                  <c:v>304</c:v>
                </c:pt>
                <c:pt idx="215">
                  <c:v>302</c:v>
                </c:pt>
                <c:pt idx="216">
                  <c:v>305</c:v>
                </c:pt>
                <c:pt idx="217">
                  <c:v>291</c:v>
                </c:pt>
                <c:pt idx="218">
                  <c:v>283</c:v>
                </c:pt>
                <c:pt idx="219">
                  <c:v>281</c:v>
                </c:pt>
                <c:pt idx="220">
                  <c:v>275</c:v>
                </c:pt>
                <c:pt idx="221">
                  <c:v>260</c:v>
                </c:pt>
                <c:pt idx="222">
                  <c:v>256</c:v>
                </c:pt>
                <c:pt idx="223">
                  <c:v>261</c:v>
                </c:pt>
                <c:pt idx="224">
                  <c:v>237</c:v>
                </c:pt>
                <c:pt idx="225">
                  <c:v>230</c:v>
                </c:pt>
                <c:pt idx="226">
                  <c:v>223</c:v>
                </c:pt>
                <c:pt idx="227">
                  <c:v>219</c:v>
                </c:pt>
                <c:pt idx="228">
                  <c:v>218</c:v>
                </c:pt>
                <c:pt idx="229">
                  <c:v>215</c:v>
                </c:pt>
                <c:pt idx="230">
                  <c:v>223</c:v>
                </c:pt>
                <c:pt idx="231">
                  <c:v>217</c:v>
                </c:pt>
                <c:pt idx="232">
                  <c:v>193</c:v>
                </c:pt>
                <c:pt idx="233">
                  <c:v>175</c:v>
                </c:pt>
                <c:pt idx="234">
                  <c:v>167</c:v>
                </c:pt>
                <c:pt idx="235">
                  <c:v>160</c:v>
                </c:pt>
                <c:pt idx="236">
                  <c:v>158</c:v>
                </c:pt>
                <c:pt idx="237">
                  <c:v>161</c:v>
                </c:pt>
                <c:pt idx="238">
                  <c:v>157</c:v>
                </c:pt>
                <c:pt idx="239">
                  <c:v>152</c:v>
                </c:pt>
                <c:pt idx="240">
                  <c:v>148</c:v>
                </c:pt>
                <c:pt idx="241">
                  <c:v>145</c:v>
                </c:pt>
                <c:pt idx="242">
                  <c:v>142</c:v>
                </c:pt>
                <c:pt idx="243">
                  <c:v>141</c:v>
                </c:pt>
                <c:pt idx="244">
                  <c:v>143</c:v>
                </c:pt>
                <c:pt idx="245">
                  <c:v>132</c:v>
                </c:pt>
                <c:pt idx="246">
                  <c:v>128</c:v>
                </c:pt>
                <c:pt idx="247">
                  <c:v>129</c:v>
                </c:pt>
                <c:pt idx="248">
                  <c:v>127</c:v>
                </c:pt>
                <c:pt idx="249">
                  <c:v>122</c:v>
                </c:pt>
                <c:pt idx="250">
                  <c:v>120</c:v>
                </c:pt>
                <c:pt idx="251">
                  <c:v>120</c:v>
                </c:pt>
                <c:pt idx="252">
                  <c:v>116</c:v>
                </c:pt>
                <c:pt idx="253">
                  <c:v>112</c:v>
                </c:pt>
                <c:pt idx="254">
                  <c:v>112</c:v>
                </c:pt>
                <c:pt idx="255">
                  <c:v>112</c:v>
                </c:pt>
                <c:pt idx="256">
                  <c:v>109</c:v>
                </c:pt>
                <c:pt idx="257">
                  <c:v>109</c:v>
                </c:pt>
                <c:pt idx="258">
                  <c:v>110</c:v>
                </c:pt>
                <c:pt idx="259">
                  <c:v>111</c:v>
                </c:pt>
                <c:pt idx="260">
                  <c:v>107</c:v>
                </c:pt>
                <c:pt idx="261">
                  <c:v>108</c:v>
                </c:pt>
                <c:pt idx="262">
                  <c:v>107</c:v>
                </c:pt>
                <c:pt idx="263">
                  <c:v>104</c:v>
                </c:pt>
                <c:pt idx="264">
                  <c:v>104</c:v>
                </c:pt>
                <c:pt idx="265">
                  <c:v>106</c:v>
                </c:pt>
                <c:pt idx="266">
                  <c:v>104</c:v>
                </c:pt>
                <c:pt idx="267">
                  <c:v>101</c:v>
                </c:pt>
                <c:pt idx="268">
                  <c:v>100</c:v>
                </c:pt>
                <c:pt idx="269">
                  <c:v>98</c:v>
                </c:pt>
                <c:pt idx="270">
                  <c:v>96</c:v>
                </c:pt>
                <c:pt idx="271">
                  <c:v>96</c:v>
                </c:pt>
                <c:pt idx="272">
                  <c:v>95</c:v>
                </c:pt>
                <c:pt idx="273">
                  <c:v>92</c:v>
                </c:pt>
                <c:pt idx="274">
                  <c:v>89</c:v>
                </c:pt>
                <c:pt idx="275">
                  <c:v>88</c:v>
                </c:pt>
                <c:pt idx="276">
                  <c:v>87</c:v>
                </c:pt>
                <c:pt idx="277">
                  <c:v>87</c:v>
                </c:pt>
                <c:pt idx="278">
                  <c:v>87</c:v>
                </c:pt>
                <c:pt idx="279">
                  <c:v>86</c:v>
                </c:pt>
                <c:pt idx="280">
                  <c:v>83</c:v>
                </c:pt>
                <c:pt idx="281">
                  <c:v>81</c:v>
                </c:pt>
                <c:pt idx="282">
                  <c:v>81</c:v>
                </c:pt>
                <c:pt idx="283">
                  <c:v>81</c:v>
                </c:pt>
                <c:pt idx="284">
                  <c:v>81</c:v>
                </c:pt>
                <c:pt idx="285">
                  <c:v>81</c:v>
                </c:pt>
                <c:pt idx="286">
                  <c:v>81</c:v>
                </c:pt>
                <c:pt idx="287">
                  <c:v>81</c:v>
                </c:pt>
                <c:pt idx="288">
                  <c:v>81</c:v>
                </c:pt>
                <c:pt idx="289">
                  <c:v>80</c:v>
                </c:pt>
                <c:pt idx="290">
                  <c:v>80</c:v>
                </c:pt>
                <c:pt idx="291">
                  <c:v>80</c:v>
                </c:pt>
                <c:pt idx="292">
                  <c:v>80</c:v>
                </c:pt>
                <c:pt idx="293">
                  <c:v>80</c:v>
                </c:pt>
                <c:pt idx="294">
                  <c:v>80</c:v>
                </c:pt>
                <c:pt idx="295">
                  <c:v>80</c:v>
                </c:pt>
                <c:pt idx="296">
                  <c:v>78</c:v>
                </c:pt>
                <c:pt idx="297">
                  <c:v>77</c:v>
                </c:pt>
                <c:pt idx="298">
                  <c:v>77</c:v>
                </c:pt>
                <c:pt idx="299">
                  <c:v>77</c:v>
                </c:pt>
                <c:pt idx="300">
                  <c:v>77</c:v>
                </c:pt>
                <c:pt idx="301">
                  <c:v>77</c:v>
                </c:pt>
                <c:pt idx="302">
                  <c:v>78</c:v>
                </c:pt>
                <c:pt idx="303">
                  <c:v>78</c:v>
                </c:pt>
                <c:pt idx="304">
                  <c:v>78</c:v>
                </c:pt>
                <c:pt idx="305">
                  <c:v>78</c:v>
                </c:pt>
                <c:pt idx="306">
                  <c:v>78</c:v>
                </c:pt>
                <c:pt idx="307">
                  <c:v>78</c:v>
                </c:pt>
                <c:pt idx="308">
                  <c:v>78</c:v>
                </c:pt>
                <c:pt idx="309">
                  <c:v>78</c:v>
                </c:pt>
                <c:pt idx="310">
                  <c:v>78</c:v>
                </c:pt>
                <c:pt idx="311">
                  <c:v>78</c:v>
                </c:pt>
                <c:pt idx="312">
                  <c:v>78</c:v>
                </c:pt>
                <c:pt idx="313">
                  <c:v>79</c:v>
                </c:pt>
                <c:pt idx="314">
                  <c:v>79</c:v>
                </c:pt>
                <c:pt idx="315">
                  <c:v>79</c:v>
                </c:pt>
                <c:pt idx="316">
                  <c:v>79</c:v>
                </c:pt>
                <c:pt idx="317">
                  <c:v>79</c:v>
                </c:pt>
                <c:pt idx="318">
                  <c:v>78</c:v>
                </c:pt>
                <c:pt idx="319">
                  <c:v>78</c:v>
                </c:pt>
                <c:pt idx="320">
                  <c:v>78</c:v>
                </c:pt>
                <c:pt idx="321">
                  <c:v>78</c:v>
                </c:pt>
                <c:pt idx="322">
                  <c:v>78</c:v>
                </c:pt>
                <c:pt idx="323">
                  <c:v>79</c:v>
                </c:pt>
                <c:pt idx="324">
                  <c:v>78</c:v>
                </c:pt>
                <c:pt idx="325">
                  <c:v>78</c:v>
                </c:pt>
                <c:pt idx="326">
                  <c:v>77</c:v>
                </c:pt>
                <c:pt idx="327">
                  <c:v>77</c:v>
                </c:pt>
                <c:pt idx="328">
                  <c:v>76</c:v>
                </c:pt>
                <c:pt idx="329">
                  <c:v>77</c:v>
                </c:pt>
                <c:pt idx="330">
                  <c:v>78</c:v>
                </c:pt>
                <c:pt idx="331">
                  <c:v>78</c:v>
                </c:pt>
                <c:pt idx="332">
                  <c:v>78</c:v>
                </c:pt>
                <c:pt idx="333">
                  <c:v>78</c:v>
                </c:pt>
                <c:pt idx="334">
                  <c:v>78</c:v>
                </c:pt>
                <c:pt idx="335">
                  <c:v>78</c:v>
                </c:pt>
                <c:pt idx="336">
                  <c:v>78</c:v>
                </c:pt>
                <c:pt idx="337">
                  <c:v>78</c:v>
                </c:pt>
                <c:pt idx="338">
                  <c:v>77</c:v>
                </c:pt>
                <c:pt idx="339">
                  <c:v>77</c:v>
                </c:pt>
                <c:pt idx="340">
                  <c:v>77</c:v>
                </c:pt>
                <c:pt idx="341">
                  <c:v>78</c:v>
                </c:pt>
                <c:pt idx="342">
                  <c:v>78</c:v>
                </c:pt>
                <c:pt idx="343">
                  <c:v>77</c:v>
                </c:pt>
                <c:pt idx="344">
                  <c:v>77</c:v>
                </c:pt>
                <c:pt idx="345">
                  <c:v>77</c:v>
                </c:pt>
                <c:pt idx="346">
                  <c:v>77</c:v>
                </c:pt>
                <c:pt idx="347">
                  <c:v>77</c:v>
                </c:pt>
                <c:pt idx="348">
                  <c:v>77</c:v>
                </c:pt>
                <c:pt idx="349">
                  <c:v>77</c:v>
                </c:pt>
                <c:pt idx="350">
                  <c:v>76</c:v>
                </c:pt>
                <c:pt idx="351">
                  <c:v>76</c:v>
                </c:pt>
                <c:pt idx="352">
                  <c:v>76</c:v>
                </c:pt>
                <c:pt idx="353">
                  <c:v>76</c:v>
                </c:pt>
                <c:pt idx="354">
                  <c:v>76</c:v>
                </c:pt>
                <c:pt idx="355">
                  <c:v>76</c:v>
                </c:pt>
                <c:pt idx="356">
                  <c:v>77</c:v>
                </c:pt>
                <c:pt idx="357">
                  <c:v>77</c:v>
                </c:pt>
                <c:pt idx="358">
                  <c:v>77</c:v>
                </c:pt>
                <c:pt idx="359">
                  <c:v>77</c:v>
                </c:pt>
                <c:pt idx="360">
                  <c:v>78</c:v>
                </c:pt>
                <c:pt idx="361">
                  <c:v>78</c:v>
                </c:pt>
                <c:pt idx="362">
                  <c:v>78</c:v>
                </c:pt>
                <c:pt idx="363">
                  <c:v>78</c:v>
                </c:pt>
                <c:pt idx="364">
                  <c:v>78</c:v>
                </c:pt>
                <c:pt idx="365">
                  <c:v>80</c:v>
                </c:pt>
                <c:pt idx="366">
                  <c:v>81</c:v>
                </c:pt>
                <c:pt idx="367">
                  <c:v>82</c:v>
                </c:pt>
                <c:pt idx="368">
                  <c:v>82</c:v>
                </c:pt>
                <c:pt idx="369">
                  <c:v>82</c:v>
                </c:pt>
                <c:pt idx="370">
                  <c:v>83</c:v>
                </c:pt>
                <c:pt idx="371">
                  <c:v>84</c:v>
                </c:pt>
                <c:pt idx="372">
                  <c:v>85</c:v>
                </c:pt>
                <c:pt idx="373">
                  <c:v>86</c:v>
                </c:pt>
                <c:pt idx="374">
                  <c:v>86</c:v>
                </c:pt>
                <c:pt idx="375">
                  <c:v>85</c:v>
                </c:pt>
                <c:pt idx="376">
                  <c:v>84</c:v>
                </c:pt>
                <c:pt idx="377">
                  <c:v>84</c:v>
                </c:pt>
                <c:pt idx="378">
                  <c:v>85</c:v>
                </c:pt>
                <c:pt idx="379">
                  <c:v>84</c:v>
                </c:pt>
                <c:pt idx="380">
                  <c:v>84</c:v>
                </c:pt>
                <c:pt idx="381">
                  <c:v>83</c:v>
                </c:pt>
                <c:pt idx="382">
                  <c:v>81</c:v>
                </c:pt>
                <c:pt idx="383">
                  <c:v>81</c:v>
                </c:pt>
                <c:pt idx="384">
                  <c:v>85</c:v>
                </c:pt>
                <c:pt idx="385">
                  <c:v>87</c:v>
                </c:pt>
                <c:pt idx="386">
                  <c:v>87</c:v>
                </c:pt>
                <c:pt idx="387">
                  <c:v>87</c:v>
                </c:pt>
                <c:pt idx="388">
                  <c:v>87</c:v>
                </c:pt>
                <c:pt idx="389">
                  <c:v>88</c:v>
                </c:pt>
                <c:pt idx="390">
                  <c:v>89</c:v>
                </c:pt>
                <c:pt idx="391">
                  <c:v>93</c:v>
                </c:pt>
                <c:pt idx="392">
                  <c:v>95</c:v>
                </c:pt>
                <c:pt idx="393">
                  <c:v>100</c:v>
                </c:pt>
                <c:pt idx="394">
                  <c:v>101</c:v>
                </c:pt>
                <c:pt idx="395">
                  <c:v>102</c:v>
                </c:pt>
                <c:pt idx="396">
                  <c:v>101</c:v>
                </c:pt>
                <c:pt idx="397">
                  <c:v>100</c:v>
                </c:pt>
                <c:pt idx="398">
                  <c:v>102</c:v>
                </c:pt>
                <c:pt idx="399">
                  <c:v>104</c:v>
                </c:pt>
                <c:pt idx="400">
                  <c:v>104</c:v>
                </c:pt>
                <c:pt idx="401">
                  <c:v>105</c:v>
                </c:pt>
                <c:pt idx="402">
                  <c:v>106</c:v>
                </c:pt>
                <c:pt idx="403">
                  <c:v>107</c:v>
                </c:pt>
                <c:pt idx="404">
                  <c:v>105</c:v>
                </c:pt>
                <c:pt idx="405">
                  <c:v>107</c:v>
                </c:pt>
                <c:pt idx="406">
                  <c:v>103</c:v>
                </c:pt>
                <c:pt idx="407">
                  <c:v>103</c:v>
                </c:pt>
                <c:pt idx="408">
                  <c:v>99</c:v>
                </c:pt>
                <c:pt idx="409">
                  <c:v>104</c:v>
                </c:pt>
                <c:pt idx="410">
                  <c:v>104</c:v>
                </c:pt>
                <c:pt idx="411">
                  <c:v>105</c:v>
                </c:pt>
                <c:pt idx="412">
                  <c:v>117</c:v>
                </c:pt>
                <c:pt idx="413">
                  <c:v>120</c:v>
                </c:pt>
                <c:pt idx="414">
                  <c:v>128</c:v>
                </c:pt>
                <c:pt idx="415">
                  <c:v>131</c:v>
                </c:pt>
                <c:pt idx="416">
                  <c:v>137</c:v>
                </c:pt>
                <c:pt idx="417">
                  <c:v>133</c:v>
                </c:pt>
                <c:pt idx="418">
                  <c:v>136</c:v>
                </c:pt>
                <c:pt idx="419">
                  <c:v>152</c:v>
                </c:pt>
                <c:pt idx="420">
                  <c:v>154</c:v>
                </c:pt>
                <c:pt idx="421">
                  <c:v>167</c:v>
                </c:pt>
                <c:pt idx="422">
                  <c:v>168</c:v>
                </c:pt>
                <c:pt idx="423">
                  <c:v>173</c:v>
                </c:pt>
                <c:pt idx="424">
                  <c:v>173</c:v>
                </c:pt>
                <c:pt idx="425">
                  <c:v>174</c:v>
                </c:pt>
                <c:pt idx="426">
                  <c:v>214</c:v>
                </c:pt>
                <c:pt idx="427">
                  <c:v>224</c:v>
                </c:pt>
                <c:pt idx="428">
                  <c:v>236</c:v>
                </c:pt>
                <c:pt idx="429">
                  <c:v>249</c:v>
                </c:pt>
                <c:pt idx="430">
                  <c:v>267</c:v>
                </c:pt>
                <c:pt idx="431">
                  <c:v>274</c:v>
                </c:pt>
                <c:pt idx="432">
                  <c:v>276</c:v>
                </c:pt>
                <c:pt idx="433">
                  <c:v>322</c:v>
                </c:pt>
                <c:pt idx="434">
                  <c:v>335</c:v>
                </c:pt>
                <c:pt idx="435">
                  <c:v>342</c:v>
                </c:pt>
                <c:pt idx="436">
                  <c:v>364</c:v>
                </c:pt>
                <c:pt idx="437">
                  <c:v>391</c:v>
                </c:pt>
                <c:pt idx="438">
                  <c:v>395</c:v>
                </c:pt>
                <c:pt idx="439">
                  <c:v>399</c:v>
                </c:pt>
                <c:pt idx="440">
                  <c:v>440</c:v>
                </c:pt>
                <c:pt idx="441">
                  <c:v>442</c:v>
                </c:pt>
                <c:pt idx="442">
                  <c:v>424</c:v>
                </c:pt>
                <c:pt idx="443">
                  <c:v>441</c:v>
                </c:pt>
                <c:pt idx="444">
                  <c:v>475</c:v>
                </c:pt>
                <c:pt idx="445">
                  <c:v>474</c:v>
                </c:pt>
                <c:pt idx="446">
                  <c:v>471</c:v>
                </c:pt>
                <c:pt idx="447">
                  <c:v>510</c:v>
                </c:pt>
                <c:pt idx="448">
                  <c:v>525</c:v>
                </c:pt>
                <c:pt idx="449">
                  <c:v>544</c:v>
                </c:pt>
                <c:pt idx="450">
                  <c:v>544</c:v>
                </c:pt>
                <c:pt idx="451">
                  <c:v>553</c:v>
                </c:pt>
                <c:pt idx="452">
                  <c:v>539</c:v>
                </c:pt>
                <c:pt idx="453">
                  <c:v>530</c:v>
                </c:pt>
                <c:pt idx="454">
                  <c:v>553</c:v>
                </c:pt>
                <c:pt idx="455">
                  <c:v>592</c:v>
                </c:pt>
                <c:pt idx="456">
                  <c:v>597</c:v>
                </c:pt>
                <c:pt idx="457">
                  <c:v>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List1!$D$2:$D$459</c:f>
              <c:numCache>
                <c:formatCode>General</c:formatCode>
                <c:ptCount val="458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4</c:v>
                </c:pt>
                <c:pt idx="31">
                  <c:v>293</c:v>
                </c:pt>
                <c:pt idx="32">
                  <c:v>353</c:v>
                </c:pt>
                <c:pt idx="33">
                  <c:v>418</c:v>
                </c:pt>
                <c:pt idx="34">
                  <c:v>650</c:v>
                </c:pt>
                <c:pt idx="35">
                  <c:v>757</c:v>
                </c:pt>
                <c:pt idx="36">
                  <c:v>822</c:v>
                </c:pt>
                <c:pt idx="37">
                  <c:v>970</c:v>
                </c:pt>
                <c:pt idx="38">
                  <c:v>1182</c:v>
                </c:pt>
                <c:pt idx="39">
                  <c:v>1240</c:v>
                </c:pt>
                <c:pt idx="40">
                  <c:v>1221</c:v>
                </c:pt>
                <c:pt idx="41">
                  <c:v>1456</c:v>
                </c:pt>
                <c:pt idx="42">
                  <c:v>1746</c:v>
                </c:pt>
                <c:pt idx="43">
                  <c:v>2040</c:v>
                </c:pt>
                <c:pt idx="44">
                  <c:v>2372</c:v>
                </c:pt>
                <c:pt idx="45">
                  <c:v>2667</c:v>
                </c:pt>
                <c:pt idx="46">
                  <c:v>2809</c:v>
                </c:pt>
                <c:pt idx="47">
                  <c:v>2758</c:v>
                </c:pt>
                <c:pt idx="48">
                  <c:v>3062</c:v>
                </c:pt>
                <c:pt idx="49">
                  <c:v>3315</c:v>
                </c:pt>
                <c:pt idx="50">
                  <c:v>3809</c:v>
                </c:pt>
                <c:pt idx="51">
                  <c:v>4122</c:v>
                </c:pt>
                <c:pt idx="52">
                  <c:v>4666</c:v>
                </c:pt>
                <c:pt idx="53">
                  <c:v>4821</c:v>
                </c:pt>
                <c:pt idx="54">
                  <c:v>4829</c:v>
                </c:pt>
                <c:pt idx="55">
                  <c:v>5166</c:v>
                </c:pt>
                <c:pt idx="56">
                  <c:v>5664</c:v>
                </c:pt>
                <c:pt idx="57">
                  <c:v>5701</c:v>
                </c:pt>
                <c:pt idx="58">
                  <c:v>6532</c:v>
                </c:pt>
                <c:pt idx="59">
                  <c:v>6960</c:v>
                </c:pt>
                <c:pt idx="60">
                  <c:v>6960</c:v>
                </c:pt>
                <c:pt idx="61">
                  <c:v>6696</c:v>
                </c:pt>
                <c:pt idx="62">
                  <c:v>6771</c:v>
                </c:pt>
                <c:pt idx="63">
                  <c:v>6623</c:v>
                </c:pt>
                <c:pt idx="64">
                  <c:v>7020</c:v>
                </c:pt>
                <c:pt idx="65">
                  <c:v>7520</c:v>
                </c:pt>
                <c:pt idx="66">
                  <c:v>7198</c:v>
                </c:pt>
                <c:pt idx="67">
                  <c:v>6599</c:v>
                </c:pt>
                <c:pt idx="68">
                  <c:v>6418</c:v>
                </c:pt>
                <c:pt idx="69">
                  <c:v>6018</c:v>
                </c:pt>
                <c:pt idx="70">
                  <c:v>5755</c:v>
                </c:pt>
                <c:pt idx="71">
                  <c:v>6289</c:v>
                </c:pt>
                <c:pt idx="72">
                  <c:v>6790</c:v>
                </c:pt>
                <c:pt idx="73">
                  <c:v>6740</c:v>
                </c:pt>
                <c:pt idx="74">
                  <c:v>6195</c:v>
                </c:pt>
                <c:pt idx="75">
                  <c:v>5840</c:v>
                </c:pt>
                <c:pt idx="76">
                  <c:v>5805</c:v>
                </c:pt>
                <c:pt idx="77">
                  <c:v>5432</c:v>
                </c:pt>
                <c:pt idx="78">
                  <c:v>5719</c:v>
                </c:pt>
                <c:pt idx="79">
                  <c:v>5938</c:v>
                </c:pt>
                <c:pt idx="80">
                  <c:v>5938</c:v>
                </c:pt>
                <c:pt idx="81">
                  <c:v>5302</c:v>
                </c:pt>
                <c:pt idx="82">
                  <c:v>4841</c:v>
                </c:pt>
                <c:pt idx="83">
                  <c:v>4941</c:v>
                </c:pt>
                <c:pt idx="84">
                  <c:v>4591</c:v>
                </c:pt>
                <c:pt idx="85">
                  <c:v>4605</c:v>
                </c:pt>
                <c:pt idx="86">
                  <c:v>4720</c:v>
                </c:pt>
                <c:pt idx="87">
                  <c:v>4437</c:v>
                </c:pt>
                <c:pt idx="88">
                  <c:v>4368</c:v>
                </c:pt>
                <c:pt idx="89">
                  <c:v>3964</c:v>
                </c:pt>
                <c:pt idx="90">
                  <c:v>3838</c:v>
                </c:pt>
                <c:pt idx="91">
                  <c:v>3644</c:v>
                </c:pt>
                <c:pt idx="92">
                  <c:v>3722</c:v>
                </c:pt>
                <c:pt idx="93">
                  <c:v>3814</c:v>
                </c:pt>
                <c:pt idx="94">
                  <c:v>3637</c:v>
                </c:pt>
                <c:pt idx="95">
                  <c:v>3409</c:v>
                </c:pt>
                <c:pt idx="96">
                  <c:v>3182</c:v>
                </c:pt>
                <c:pt idx="97">
                  <c:v>3193</c:v>
                </c:pt>
                <c:pt idx="98">
                  <c:v>3035</c:v>
                </c:pt>
                <c:pt idx="99">
                  <c:v>3125</c:v>
                </c:pt>
                <c:pt idx="100">
                  <c:v>3222</c:v>
                </c:pt>
                <c:pt idx="101">
                  <c:v>3189</c:v>
                </c:pt>
                <c:pt idx="102">
                  <c:v>3026</c:v>
                </c:pt>
                <c:pt idx="103">
                  <c:v>2939</c:v>
                </c:pt>
                <c:pt idx="104">
                  <c:v>2980</c:v>
                </c:pt>
                <c:pt idx="105">
                  <c:v>2964</c:v>
                </c:pt>
                <c:pt idx="106">
                  <c:v>3032</c:v>
                </c:pt>
                <c:pt idx="107">
                  <c:v>3070</c:v>
                </c:pt>
                <c:pt idx="108">
                  <c:v>3054</c:v>
                </c:pt>
                <c:pt idx="109">
                  <c:v>2869</c:v>
                </c:pt>
                <c:pt idx="110">
                  <c:v>2752</c:v>
                </c:pt>
                <c:pt idx="111">
                  <c:v>2899</c:v>
                </c:pt>
                <c:pt idx="112">
                  <c:v>2958</c:v>
                </c:pt>
                <c:pt idx="113">
                  <c:v>3068</c:v>
                </c:pt>
                <c:pt idx="114">
                  <c:v>3049</c:v>
                </c:pt>
                <c:pt idx="115">
                  <c:v>2894</c:v>
                </c:pt>
                <c:pt idx="116">
                  <c:v>2825</c:v>
                </c:pt>
                <c:pt idx="117">
                  <c:v>2794</c:v>
                </c:pt>
                <c:pt idx="118">
                  <c:v>2948</c:v>
                </c:pt>
                <c:pt idx="119">
                  <c:v>3083</c:v>
                </c:pt>
                <c:pt idx="120">
                  <c:v>3256</c:v>
                </c:pt>
                <c:pt idx="121">
                  <c:v>3404</c:v>
                </c:pt>
                <c:pt idx="122">
                  <c:v>3174</c:v>
                </c:pt>
                <c:pt idx="123">
                  <c:v>3066</c:v>
                </c:pt>
                <c:pt idx="124">
                  <c:v>2833</c:v>
                </c:pt>
                <c:pt idx="125">
                  <c:v>3317</c:v>
                </c:pt>
                <c:pt idx="126">
                  <c:v>3525</c:v>
                </c:pt>
                <c:pt idx="127">
                  <c:v>3689</c:v>
                </c:pt>
                <c:pt idx="128">
                  <c:v>3891</c:v>
                </c:pt>
                <c:pt idx="129">
                  <c:v>3791</c:v>
                </c:pt>
                <c:pt idx="130">
                  <c:v>3543</c:v>
                </c:pt>
                <c:pt idx="131">
                  <c:v>3276</c:v>
                </c:pt>
                <c:pt idx="132">
                  <c:v>3560</c:v>
                </c:pt>
                <c:pt idx="133">
                  <c:v>3706</c:v>
                </c:pt>
                <c:pt idx="134">
                  <c:v>3878</c:v>
                </c:pt>
                <c:pt idx="135">
                  <c:v>3924</c:v>
                </c:pt>
                <c:pt idx="136">
                  <c:v>3697</c:v>
                </c:pt>
                <c:pt idx="137">
                  <c:v>3357</c:v>
                </c:pt>
                <c:pt idx="138">
                  <c:v>3093</c:v>
                </c:pt>
                <c:pt idx="139">
                  <c:v>3028</c:v>
                </c:pt>
                <c:pt idx="140">
                  <c:v>2865</c:v>
                </c:pt>
                <c:pt idx="141">
                  <c:v>2981</c:v>
                </c:pt>
                <c:pt idx="142">
                  <c:v>3078</c:v>
                </c:pt>
                <c:pt idx="143">
                  <c:v>2854</c:v>
                </c:pt>
                <c:pt idx="144">
                  <c:v>2713</c:v>
                </c:pt>
                <c:pt idx="145">
                  <c:v>2502</c:v>
                </c:pt>
                <c:pt idx="146">
                  <c:v>2477</c:v>
                </c:pt>
                <c:pt idx="147">
                  <c:v>2426</c:v>
                </c:pt>
                <c:pt idx="148">
                  <c:v>2504</c:v>
                </c:pt>
                <c:pt idx="149">
                  <c:v>2551</c:v>
                </c:pt>
                <c:pt idx="150">
                  <c:v>2325</c:v>
                </c:pt>
                <c:pt idx="151">
                  <c:v>2214</c:v>
                </c:pt>
                <c:pt idx="152">
                  <c:v>1999</c:v>
                </c:pt>
                <c:pt idx="153">
                  <c:v>2046</c:v>
                </c:pt>
                <c:pt idx="154">
                  <c:v>2059</c:v>
                </c:pt>
                <c:pt idx="155">
                  <c:v>2151</c:v>
                </c:pt>
                <c:pt idx="156">
                  <c:v>2201</c:v>
                </c:pt>
                <c:pt idx="157">
                  <c:v>2117</c:v>
                </c:pt>
                <c:pt idx="158">
                  <c:v>1985</c:v>
                </c:pt>
                <c:pt idx="159">
                  <c:v>1888</c:v>
                </c:pt>
                <c:pt idx="160">
                  <c:v>1924</c:v>
                </c:pt>
                <c:pt idx="161">
                  <c:v>1886</c:v>
                </c:pt>
                <c:pt idx="162">
                  <c:v>1915</c:v>
                </c:pt>
                <c:pt idx="163">
                  <c:v>1985</c:v>
                </c:pt>
                <c:pt idx="164">
                  <c:v>1912</c:v>
                </c:pt>
                <c:pt idx="165">
                  <c:v>1732</c:v>
                </c:pt>
                <c:pt idx="166">
                  <c:v>1589</c:v>
                </c:pt>
                <c:pt idx="167">
                  <c:v>1585</c:v>
                </c:pt>
                <c:pt idx="168">
                  <c:v>1491</c:v>
                </c:pt>
                <c:pt idx="169">
                  <c:v>1489</c:v>
                </c:pt>
                <c:pt idx="170">
                  <c:v>1517</c:v>
                </c:pt>
                <c:pt idx="171">
                  <c:v>1429</c:v>
                </c:pt>
                <c:pt idx="172">
                  <c:v>1328</c:v>
                </c:pt>
                <c:pt idx="173">
                  <c:v>1229</c:v>
                </c:pt>
                <c:pt idx="174">
                  <c:v>1304</c:v>
                </c:pt>
                <c:pt idx="175">
                  <c:v>1291</c:v>
                </c:pt>
                <c:pt idx="176">
                  <c:v>1318</c:v>
                </c:pt>
                <c:pt idx="177">
                  <c:v>1372</c:v>
                </c:pt>
                <c:pt idx="178">
                  <c:v>1338</c:v>
                </c:pt>
                <c:pt idx="179">
                  <c:v>1257</c:v>
                </c:pt>
                <c:pt idx="180">
                  <c:v>1203</c:v>
                </c:pt>
                <c:pt idx="181">
                  <c:v>1272</c:v>
                </c:pt>
                <c:pt idx="182">
                  <c:v>1231</c:v>
                </c:pt>
                <c:pt idx="183">
                  <c:v>1279</c:v>
                </c:pt>
                <c:pt idx="184">
                  <c:v>1297</c:v>
                </c:pt>
                <c:pt idx="185">
                  <c:v>1179</c:v>
                </c:pt>
                <c:pt idx="186">
                  <c:v>1099</c:v>
                </c:pt>
                <c:pt idx="187">
                  <c:v>1022</c:v>
                </c:pt>
                <c:pt idx="188">
                  <c:v>1034</c:v>
                </c:pt>
                <c:pt idx="189">
                  <c:v>1035</c:v>
                </c:pt>
                <c:pt idx="190">
                  <c:v>1096</c:v>
                </c:pt>
                <c:pt idx="191">
                  <c:v>1110</c:v>
                </c:pt>
                <c:pt idx="192">
                  <c:v>1147</c:v>
                </c:pt>
                <c:pt idx="193">
                  <c:v>1154</c:v>
                </c:pt>
                <c:pt idx="194">
                  <c:v>1159</c:v>
                </c:pt>
                <c:pt idx="195">
                  <c:v>1216</c:v>
                </c:pt>
                <c:pt idx="196">
                  <c:v>1113</c:v>
                </c:pt>
                <c:pt idx="197">
                  <c:v>1068</c:v>
                </c:pt>
                <c:pt idx="198">
                  <c:v>1016</c:v>
                </c:pt>
                <c:pt idx="199">
                  <c:v>996</c:v>
                </c:pt>
                <c:pt idx="200">
                  <c:v>943</c:v>
                </c:pt>
                <c:pt idx="201">
                  <c:v>936</c:v>
                </c:pt>
                <c:pt idx="202">
                  <c:v>964</c:v>
                </c:pt>
                <c:pt idx="203">
                  <c:v>919</c:v>
                </c:pt>
                <c:pt idx="204">
                  <c:v>859</c:v>
                </c:pt>
                <c:pt idx="205">
                  <c:v>827</c:v>
                </c:pt>
                <c:pt idx="206">
                  <c:v>797</c:v>
                </c:pt>
                <c:pt idx="207">
                  <c:v>740</c:v>
                </c:pt>
                <c:pt idx="208">
                  <c:v>731</c:v>
                </c:pt>
                <c:pt idx="209">
                  <c:v>750</c:v>
                </c:pt>
                <c:pt idx="210">
                  <c:v>703</c:v>
                </c:pt>
                <c:pt idx="211">
                  <c:v>667</c:v>
                </c:pt>
                <c:pt idx="212">
                  <c:v>642</c:v>
                </c:pt>
                <c:pt idx="213">
                  <c:v>588</c:v>
                </c:pt>
                <c:pt idx="214">
                  <c:v>562</c:v>
                </c:pt>
                <c:pt idx="215">
                  <c:v>559</c:v>
                </c:pt>
                <c:pt idx="216">
                  <c:v>560</c:v>
                </c:pt>
                <c:pt idx="217">
                  <c:v>516</c:v>
                </c:pt>
                <c:pt idx="218">
                  <c:v>505</c:v>
                </c:pt>
                <c:pt idx="219">
                  <c:v>488</c:v>
                </c:pt>
                <c:pt idx="220">
                  <c:v>453</c:v>
                </c:pt>
                <c:pt idx="221">
                  <c:v>433</c:v>
                </c:pt>
                <c:pt idx="222">
                  <c:v>428</c:v>
                </c:pt>
                <c:pt idx="223">
                  <c:v>432</c:v>
                </c:pt>
                <c:pt idx="224">
                  <c:v>398</c:v>
                </c:pt>
                <c:pt idx="225">
                  <c:v>369</c:v>
                </c:pt>
                <c:pt idx="226">
                  <c:v>352</c:v>
                </c:pt>
                <c:pt idx="227">
                  <c:v>334</c:v>
                </c:pt>
                <c:pt idx="228">
                  <c:v>331</c:v>
                </c:pt>
                <c:pt idx="229">
                  <c:v>329</c:v>
                </c:pt>
                <c:pt idx="230">
                  <c:v>341</c:v>
                </c:pt>
                <c:pt idx="231">
                  <c:v>329</c:v>
                </c:pt>
                <c:pt idx="232">
                  <c:v>298</c:v>
                </c:pt>
                <c:pt idx="233">
                  <c:v>279</c:v>
                </c:pt>
                <c:pt idx="234">
                  <c:v>273</c:v>
                </c:pt>
                <c:pt idx="235">
                  <c:v>260</c:v>
                </c:pt>
                <c:pt idx="236">
                  <c:v>257</c:v>
                </c:pt>
                <c:pt idx="237">
                  <c:v>260</c:v>
                </c:pt>
                <c:pt idx="238">
                  <c:v>254</c:v>
                </c:pt>
                <c:pt idx="239">
                  <c:v>248</c:v>
                </c:pt>
                <c:pt idx="240">
                  <c:v>243</c:v>
                </c:pt>
                <c:pt idx="241">
                  <c:v>240</c:v>
                </c:pt>
                <c:pt idx="242">
                  <c:v>231</c:v>
                </c:pt>
                <c:pt idx="243">
                  <c:v>230</c:v>
                </c:pt>
                <c:pt idx="244">
                  <c:v>232</c:v>
                </c:pt>
                <c:pt idx="245">
                  <c:v>218</c:v>
                </c:pt>
                <c:pt idx="246">
                  <c:v>210</c:v>
                </c:pt>
                <c:pt idx="247">
                  <c:v>205</c:v>
                </c:pt>
                <c:pt idx="248">
                  <c:v>202</c:v>
                </c:pt>
                <c:pt idx="249">
                  <c:v>191</c:v>
                </c:pt>
                <c:pt idx="250">
                  <c:v>192</c:v>
                </c:pt>
                <c:pt idx="251">
                  <c:v>195</c:v>
                </c:pt>
                <c:pt idx="252">
                  <c:v>191</c:v>
                </c:pt>
                <c:pt idx="253">
                  <c:v>184</c:v>
                </c:pt>
                <c:pt idx="254">
                  <c:v>183</c:v>
                </c:pt>
                <c:pt idx="255">
                  <c:v>182</c:v>
                </c:pt>
                <c:pt idx="256">
                  <c:v>177</c:v>
                </c:pt>
                <c:pt idx="257">
                  <c:v>176</c:v>
                </c:pt>
                <c:pt idx="258">
                  <c:v>179</c:v>
                </c:pt>
                <c:pt idx="259">
                  <c:v>176</c:v>
                </c:pt>
                <c:pt idx="260">
                  <c:v>174</c:v>
                </c:pt>
                <c:pt idx="261">
                  <c:v>172</c:v>
                </c:pt>
                <c:pt idx="262">
                  <c:v>171</c:v>
                </c:pt>
                <c:pt idx="263">
                  <c:v>167</c:v>
                </c:pt>
                <c:pt idx="264">
                  <c:v>166</c:v>
                </c:pt>
                <c:pt idx="265">
                  <c:v>169</c:v>
                </c:pt>
                <c:pt idx="266">
                  <c:v>166</c:v>
                </c:pt>
                <c:pt idx="267">
                  <c:v>162</c:v>
                </c:pt>
                <c:pt idx="268">
                  <c:v>159</c:v>
                </c:pt>
                <c:pt idx="269">
                  <c:v>156</c:v>
                </c:pt>
                <c:pt idx="270">
                  <c:v>154</c:v>
                </c:pt>
                <c:pt idx="271">
                  <c:v>151</c:v>
                </c:pt>
                <c:pt idx="272">
                  <c:v>149</c:v>
                </c:pt>
                <c:pt idx="273">
                  <c:v>145</c:v>
                </c:pt>
                <c:pt idx="274">
                  <c:v>145</c:v>
                </c:pt>
                <c:pt idx="275">
                  <c:v>140</c:v>
                </c:pt>
                <c:pt idx="276">
                  <c:v>135</c:v>
                </c:pt>
                <c:pt idx="277">
                  <c:v>134</c:v>
                </c:pt>
                <c:pt idx="278">
                  <c:v>134</c:v>
                </c:pt>
                <c:pt idx="279">
                  <c:v>133</c:v>
                </c:pt>
                <c:pt idx="280">
                  <c:v>130</c:v>
                </c:pt>
                <c:pt idx="281">
                  <c:v>127</c:v>
                </c:pt>
                <c:pt idx="282">
                  <c:v>126</c:v>
                </c:pt>
                <c:pt idx="283">
                  <c:v>127</c:v>
                </c:pt>
                <c:pt idx="284">
                  <c:v>124</c:v>
                </c:pt>
                <c:pt idx="285">
                  <c:v>124</c:v>
                </c:pt>
                <c:pt idx="286">
                  <c:v>124</c:v>
                </c:pt>
                <c:pt idx="287">
                  <c:v>124</c:v>
                </c:pt>
                <c:pt idx="288">
                  <c:v>124</c:v>
                </c:pt>
                <c:pt idx="289">
                  <c:v>123</c:v>
                </c:pt>
                <c:pt idx="290">
                  <c:v>123</c:v>
                </c:pt>
                <c:pt idx="291">
                  <c:v>123</c:v>
                </c:pt>
                <c:pt idx="292">
                  <c:v>123</c:v>
                </c:pt>
                <c:pt idx="293">
                  <c:v>123</c:v>
                </c:pt>
                <c:pt idx="294">
                  <c:v>123</c:v>
                </c:pt>
                <c:pt idx="295">
                  <c:v>124</c:v>
                </c:pt>
                <c:pt idx="296">
                  <c:v>122</c:v>
                </c:pt>
                <c:pt idx="297">
                  <c:v>120</c:v>
                </c:pt>
                <c:pt idx="298">
                  <c:v>120</c:v>
                </c:pt>
                <c:pt idx="299">
                  <c:v>120</c:v>
                </c:pt>
                <c:pt idx="300">
                  <c:v>120</c:v>
                </c:pt>
                <c:pt idx="301">
                  <c:v>120</c:v>
                </c:pt>
                <c:pt idx="302">
                  <c:v>120</c:v>
                </c:pt>
                <c:pt idx="303">
                  <c:v>121</c:v>
                </c:pt>
                <c:pt idx="304">
                  <c:v>119</c:v>
                </c:pt>
                <c:pt idx="305">
                  <c:v>119</c:v>
                </c:pt>
                <c:pt idx="306">
                  <c:v>120</c:v>
                </c:pt>
                <c:pt idx="307">
                  <c:v>120</c:v>
                </c:pt>
                <c:pt idx="308">
                  <c:v>120</c:v>
                </c:pt>
                <c:pt idx="309">
                  <c:v>120</c:v>
                </c:pt>
                <c:pt idx="310">
                  <c:v>119</c:v>
                </c:pt>
                <c:pt idx="311">
                  <c:v>119</c:v>
                </c:pt>
                <c:pt idx="312">
                  <c:v>119</c:v>
                </c:pt>
                <c:pt idx="313">
                  <c:v>120</c:v>
                </c:pt>
                <c:pt idx="314">
                  <c:v>120</c:v>
                </c:pt>
                <c:pt idx="315">
                  <c:v>120</c:v>
                </c:pt>
                <c:pt idx="316">
                  <c:v>120</c:v>
                </c:pt>
                <c:pt idx="317">
                  <c:v>120</c:v>
                </c:pt>
                <c:pt idx="318">
                  <c:v>119</c:v>
                </c:pt>
                <c:pt idx="319">
                  <c:v>119</c:v>
                </c:pt>
                <c:pt idx="320">
                  <c:v>119</c:v>
                </c:pt>
                <c:pt idx="321">
                  <c:v>119</c:v>
                </c:pt>
                <c:pt idx="322">
                  <c:v>118</c:v>
                </c:pt>
                <c:pt idx="323">
                  <c:v>119</c:v>
                </c:pt>
                <c:pt idx="324">
                  <c:v>118</c:v>
                </c:pt>
                <c:pt idx="325">
                  <c:v>118</c:v>
                </c:pt>
                <c:pt idx="326">
                  <c:v>118</c:v>
                </c:pt>
                <c:pt idx="327">
                  <c:v>117</c:v>
                </c:pt>
                <c:pt idx="328">
                  <c:v>116</c:v>
                </c:pt>
                <c:pt idx="329">
                  <c:v>117</c:v>
                </c:pt>
                <c:pt idx="330">
                  <c:v>118</c:v>
                </c:pt>
                <c:pt idx="331">
                  <c:v>118</c:v>
                </c:pt>
                <c:pt idx="332">
                  <c:v>117</c:v>
                </c:pt>
                <c:pt idx="333">
                  <c:v>117</c:v>
                </c:pt>
                <c:pt idx="334">
                  <c:v>117</c:v>
                </c:pt>
                <c:pt idx="335">
                  <c:v>117</c:v>
                </c:pt>
                <c:pt idx="336">
                  <c:v>116</c:v>
                </c:pt>
                <c:pt idx="337">
                  <c:v>116</c:v>
                </c:pt>
                <c:pt idx="338">
                  <c:v>115</c:v>
                </c:pt>
                <c:pt idx="339">
                  <c:v>115</c:v>
                </c:pt>
                <c:pt idx="340">
                  <c:v>115</c:v>
                </c:pt>
                <c:pt idx="341">
                  <c:v>116</c:v>
                </c:pt>
                <c:pt idx="342">
                  <c:v>116</c:v>
                </c:pt>
                <c:pt idx="343">
                  <c:v>115</c:v>
                </c:pt>
                <c:pt idx="344">
                  <c:v>115</c:v>
                </c:pt>
                <c:pt idx="345">
                  <c:v>115</c:v>
                </c:pt>
                <c:pt idx="346">
                  <c:v>115</c:v>
                </c:pt>
                <c:pt idx="347">
                  <c:v>115</c:v>
                </c:pt>
                <c:pt idx="348">
                  <c:v>115</c:v>
                </c:pt>
                <c:pt idx="349">
                  <c:v>116</c:v>
                </c:pt>
                <c:pt idx="350">
                  <c:v>116</c:v>
                </c:pt>
                <c:pt idx="351">
                  <c:v>116</c:v>
                </c:pt>
                <c:pt idx="352">
                  <c:v>117</c:v>
                </c:pt>
                <c:pt idx="353">
                  <c:v>116</c:v>
                </c:pt>
                <c:pt idx="354">
                  <c:v>116</c:v>
                </c:pt>
                <c:pt idx="355">
                  <c:v>116</c:v>
                </c:pt>
                <c:pt idx="356">
                  <c:v>119</c:v>
                </c:pt>
                <c:pt idx="357">
                  <c:v>119</c:v>
                </c:pt>
                <c:pt idx="358">
                  <c:v>119</c:v>
                </c:pt>
                <c:pt idx="359">
                  <c:v>119</c:v>
                </c:pt>
                <c:pt idx="360">
                  <c:v>120</c:v>
                </c:pt>
                <c:pt idx="361">
                  <c:v>119</c:v>
                </c:pt>
                <c:pt idx="362">
                  <c:v>119</c:v>
                </c:pt>
                <c:pt idx="363">
                  <c:v>119</c:v>
                </c:pt>
                <c:pt idx="364">
                  <c:v>119</c:v>
                </c:pt>
                <c:pt idx="365">
                  <c:v>122</c:v>
                </c:pt>
                <c:pt idx="366">
                  <c:v>127</c:v>
                </c:pt>
                <c:pt idx="367">
                  <c:v>130</c:v>
                </c:pt>
                <c:pt idx="368">
                  <c:v>131</c:v>
                </c:pt>
                <c:pt idx="369">
                  <c:v>130</c:v>
                </c:pt>
                <c:pt idx="370">
                  <c:v>135</c:v>
                </c:pt>
                <c:pt idx="371">
                  <c:v>133</c:v>
                </c:pt>
                <c:pt idx="372">
                  <c:v>134</c:v>
                </c:pt>
                <c:pt idx="373">
                  <c:v>135</c:v>
                </c:pt>
                <c:pt idx="374">
                  <c:v>135</c:v>
                </c:pt>
                <c:pt idx="375">
                  <c:v>134</c:v>
                </c:pt>
                <c:pt idx="376">
                  <c:v>133</c:v>
                </c:pt>
                <c:pt idx="377">
                  <c:v>134</c:v>
                </c:pt>
                <c:pt idx="378">
                  <c:v>135</c:v>
                </c:pt>
                <c:pt idx="379">
                  <c:v>134</c:v>
                </c:pt>
                <c:pt idx="380">
                  <c:v>133</c:v>
                </c:pt>
                <c:pt idx="381">
                  <c:v>130</c:v>
                </c:pt>
                <c:pt idx="382">
                  <c:v>128</c:v>
                </c:pt>
                <c:pt idx="383">
                  <c:v>128</c:v>
                </c:pt>
                <c:pt idx="384">
                  <c:v>133</c:v>
                </c:pt>
                <c:pt idx="385">
                  <c:v>131</c:v>
                </c:pt>
                <c:pt idx="386">
                  <c:v>132</c:v>
                </c:pt>
                <c:pt idx="387">
                  <c:v>130</c:v>
                </c:pt>
                <c:pt idx="388">
                  <c:v>130</c:v>
                </c:pt>
                <c:pt idx="389">
                  <c:v>131</c:v>
                </c:pt>
                <c:pt idx="390">
                  <c:v>132</c:v>
                </c:pt>
                <c:pt idx="391">
                  <c:v>138</c:v>
                </c:pt>
                <c:pt idx="392">
                  <c:v>138</c:v>
                </c:pt>
                <c:pt idx="393">
                  <c:v>144</c:v>
                </c:pt>
                <c:pt idx="394">
                  <c:v>145</c:v>
                </c:pt>
                <c:pt idx="395">
                  <c:v>147</c:v>
                </c:pt>
                <c:pt idx="396">
                  <c:v>147</c:v>
                </c:pt>
                <c:pt idx="397">
                  <c:v>147</c:v>
                </c:pt>
                <c:pt idx="398">
                  <c:v>151</c:v>
                </c:pt>
                <c:pt idx="399">
                  <c:v>155</c:v>
                </c:pt>
                <c:pt idx="400">
                  <c:v>163</c:v>
                </c:pt>
                <c:pt idx="401">
                  <c:v>163</c:v>
                </c:pt>
                <c:pt idx="402">
                  <c:v>189</c:v>
                </c:pt>
                <c:pt idx="403">
                  <c:v>190</c:v>
                </c:pt>
                <c:pt idx="404">
                  <c:v>188</c:v>
                </c:pt>
                <c:pt idx="405">
                  <c:v>191</c:v>
                </c:pt>
                <c:pt idx="406">
                  <c:v>187</c:v>
                </c:pt>
                <c:pt idx="407">
                  <c:v>206</c:v>
                </c:pt>
                <c:pt idx="408">
                  <c:v>204</c:v>
                </c:pt>
                <c:pt idx="409">
                  <c:v>209</c:v>
                </c:pt>
                <c:pt idx="410">
                  <c:v>209</c:v>
                </c:pt>
                <c:pt idx="411">
                  <c:v>209</c:v>
                </c:pt>
                <c:pt idx="412">
                  <c:v>225</c:v>
                </c:pt>
                <c:pt idx="413">
                  <c:v>228</c:v>
                </c:pt>
                <c:pt idx="414">
                  <c:v>231</c:v>
                </c:pt>
                <c:pt idx="415">
                  <c:v>234</c:v>
                </c:pt>
                <c:pt idx="416">
                  <c:v>223</c:v>
                </c:pt>
                <c:pt idx="417">
                  <c:v>218</c:v>
                </c:pt>
                <c:pt idx="418">
                  <c:v>219</c:v>
                </c:pt>
                <c:pt idx="419">
                  <c:v>248</c:v>
                </c:pt>
                <c:pt idx="420">
                  <c:v>258</c:v>
                </c:pt>
                <c:pt idx="421">
                  <c:v>278</c:v>
                </c:pt>
                <c:pt idx="422">
                  <c:v>263</c:v>
                </c:pt>
                <c:pt idx="423">
                  <c:v>286</c:v>
                </c:pt>
                <c:pt idx="424">
                  <c:v>289</c:v>
                </c:pt>
                <c:pt idx="425">
                  <c:v>299</c:v>
                </c:pt>
                <c:pt idx="426">
                  <c:v>374</c:v>
                </c:pt>
                <c:pt idx="427">
                  <c:v>394</c:v>
                </c:pt>
                <c:pt idx="428">
                  <c:v>411</c:v>
                </c:pt>
                <c:pt idx="429">
                  <c:v>467</c:v>
                </c:pt>
                <c:pt idx="430">
                  <c:v>504</c:v>
                </c:pt>
                <c:pt idx="431">
                  <c:v>505</c:v>
                </c:pt>
                <c:pt idx="432">
                  <c:v>506</c:v>
                </c:pt>
                <c:pt idx="433">
                  <c:v>577</c:v>
                </c:pt>
                <c:pt idx="434">
                  <c:v>603</c:v>
                </c:pt>
                <c:pt idx="435">
                  <c:v>616</c:v>
                </c:pt>
                <c:pt idx="436">
                  <c:v>646</c:v>
                </c:pt>
                <c:pt idx="437">
                  <c:v>685</c:v>
                </c:pt>
                <c:pt idx="438">
                  <c:v>687</c:v>
                </c:pt>
                <c:pt idx="439">
                  <c:v>693</c:v>
                </c:pt>
                <c:pt idx="440">
                  <c:v>762</c:v>
                </c:pt>
                <c:pt idx="441">
                  <c:v>760</c:v>
                </c:pt>
                <c:pt idx="442">
                  <c:v>748</c:v>
                </c:pt>
                <c:pt idx="443">
                  <c:v>800</c:v>
                </c:pt>
                <c:pt idx="444">
                  <c:v>898</c:v>
                </c:pt>
                <c:pt idx="445">
                  <c:v>899</c:v>
                </c:pt>
                <c:pt idx="446">
                  <c:v>899</c:v>
                </c:pt>
                <c:pt idx="447">
                  <c:v>967</c:v>
                </c:pt>
                <c:pt idx="448">
                  <c:v>972</c:v>
                </c:pt>
                <c:pt idx="449">
                  <c:v>994</c:v>
                </c:pt>
                <c:pt idx="450">
                  <c:v>1002</c:v>
                </c:pt>
                <c:pt idx="451">
                  <c:v>1041</c:v>
                </c:pt>
                <c:pt idx="452">
                  <c:v>1014</c:v>
                </c:pt>
                <c:pt idx="453">
                  <c:v>1003</c:v>
                </c:pt>
                <c:pt idx="454">
                  <c:v>1041</c:v>
                </c:pt>
                <c:pt idx="455">
                  <c:v>1081</c:v>
                </c:pt>
                <c:pt idx="456">
                  <c:v>1066</c:v>
                </c:pt>
                <c:pt idx="457">
                  <c:v>1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0</c:v>
                </c:pt>
                <c:pt idx="55">
                  <c:v>10</c:v>
                </c:pt>
                <c:pt idx="56">
                  <c:v>16</c:v>
                </c:pt>
                <c:pt idx="57">
                  <c:v>9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2</c:v>
                </c:pt>
                <c:pt idx="62">
                  <c:v>31</c:v>
                </c:pt>
                <c:pt idx="63">
                  <c:v>29</c:v>
                </c:pt>
                <c:pt idx="64">
                  <c:v>40</c:v>
                </c:pt>
                <c:pt idx="65">
                  <c:v>47</c:v>
                </c:pt>
                <c:pt idx="66">
                  <c:v>34</c:v>
                </c:pt>
                <c:pt idx="67">
                  <c:v>52</c:v>
                </c:pt>
                <c:pt idx="68">
                  <c:v>61</c:v>
                </c:pt>
                <c:pt idx="69">
                  <c:v>75</c:v>
                </c:pt>
                <c:pt idx="70">
                  <c:v>62</c:v>
                </c:pt>
                <c:pt idx="71">
                  <c:v>83</c:v>
                </c:pt>
                <c:pt idx="72">
                  <c:v>80</c:v>
                </c:pt>
                <c:pt idx="73">
                  <c:v>100</c:v>
                </c:pt>
                <c:pt idx="74">
                  <c:v>109</c:v>
                </c:pt>
                <c:pt idx="75">
                  <c:v>112</c:v>
                </c:pt>
                <c:pt idx="76">
                  <c:v>123</c:v>
                </c:pt>
                <c:pt idx="77">
                  <c:v>104</c:v>
                </c:pt>
                <c:pt idx="78">
                  <c:v>129</c:v>
                </c:pt>
                <c:pt idx="79">
                  <c:v>132</c:v>
                </c:pt>
                <c:pt idx="80">
                  <c:v>153</c:v>
                </c:pt>
                <c:pt idx="81">
                  <c:v>177</c:v>
                </c:pt>
                <c:pt idx="82">
                  <c:v>156</c:v>
                </c:pt>
                <c:pt idx="83">
                  <c:v>194</c:v>
                </c:pt>
                <c:pt idx="84">
                  <c:v>193</c:v>
                </c:pt>
                <c:pt idx="85">
                  <c:v>178</c:v>
                </c:pt>
                <c:pt idx="86">
                  <c:v>174</c:v>
                </c:pt>
                <c:pt idx="87">
                  <c:v>153</c:v>
                </c:pt>
                <c:pt idx="88">
                  <c:v>103</c:v>
                </c:pt>
                <c:pt idx="89">
                  <c:v>88</c:v>
                </c:pt>
                <c:pt idx="90">
                  <c:v>63</c:v>
                </c:pt>
                <c:pt idx="91">
                  <c:v>57</c:v>
                </c:pt>
                <c:pt idx="92">
                  <c:v>51</c:v>
                </c:pt>
                <c:pt idx="93">
                  <c:v>28</c:v>
                </c:pt>
                <c:pt idx="94">
                  <c:v>22</c:v>
                </c:pt>
                <c:pt idx="95">
                  <c:v>9</c:v>
                </c:pt>
                <c:pt idx="96">
                  <c:v>4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2</c:v>
                </c:pt>
                <c:pt idx="6">
                  <c:v>14</c:v>
                </c:pt>
                <c:pt idx="7">
                  <c:v>12</c:v>
                </c:pt>
                <c:pt idx="8">
                  <c:v>18</c:v>
                </c:pt>
                <c:pt idx="9">
                  <c:v>18</c:v>
                </c:pt>
                <c:pt idx="10">
                  <c:v>12</c:v>
                </c:pt>
                <c:pt idx="11">
                  <c:v>27</c:v>
                </c:pt>
                <c:pt idx="12">
                  <c:v>13</c:v>
                </c:pt>
                <c:pt idx="13">
                  <c:v>21</c:v>
                </c:pt>
                <c:pt idx="14">
                  <c:v>22</c:v>
                </c:pt>
                <c:pt idx="15">
                  <c:v>33</c:v>
                </c:pt>
                <c:pt idx="16">
                  <c:v>24</c:v>
                </c:pt>
                <c:pt idx="17">
                  <c:v>24</c:v>
                </c:pt>
                <c:pt idx="18">
                  <c:v>34</c:v>
                </c:pt>
                <c:pt idx="19">
                  <c:v>42</c:v>
                </c:pt>
                <c:pt idx="20">
                  <c:v>49</c:v>
                </c:pt>
                <c:pt idx="21">
                  <c:v>57</c:v>
                </c:pt>
                <c:pt idx="22">
                  <c:v>52</c:v>
                </c:pt>
                <c:pt idx="23">
                  <c:v>70</c:v>
                </c:pt>
                <c:pt idx="24">
                  <c:v>60</c:v>
                </c:pt>
                <c:pt idx="25">
                  <c:v>68</c:v>
                </c:pt>
                <c:pt idx="26">
                  <c:v>78</c:v>
                </c:pt>
                <c:pt idx="27">
                  <c:v>75</c:v>
                </c:pt>
                <c:pt idx="28">
                  <c:v>81</c:v>
                </c:pt>
                <c:pt idx="29">
                  <c:v>91</c:v>
                </c:pt>
                <c:pt idx="30">
                  <c:v>84</c:v>
                </c:pt>
                <c:pt idx="31">
                  <c:v>77</c:v>
                </c:pt>
                <c:pt idx="32">
                  <c:v>91</c:v>
                </c:pt>
                <c:pt idx="33">
                  <c:v>120</c:v>
                </c:pt>
                <c:pt idx="34">
                  <c:v>101</c:v>
                </c:pt>
                <c:pt idx="35">
                  <c:v>122</c:v>
                </c:pt>
                <c:pt idx="36">
                  <c:v>140</c:v>
                </c:pt>
                <c:pt idx="37">
                  <c:v>121</c:v>
                </c:pt>
                <c:pt idx="38">
                  <c:v>127</c:v>
                </c:pt>
                <c:pt idx="39">
                  <c:v>147</c:v>
                </c:pt>
                <c:pt idx="40">
                  <c:v>144</c:v>
                </c:pt>
                <c:pt idx="41">
                  <c:v>144</c:v>
                </c:pt>
                <c:pt idx="42">
                  <c:v>149</c:v>
                </c:pt>
                <c:pt idx="43">
                  <c:v>128</c:v>
                </c:pt>
                <c:pt idx="44">
                  <c:v>131</c:v>
                </c:pt>
                <c:pt idx="45">
                  <c:v>133</c:v>
                </c:pt>
                <c:pt idx="46">
                  <c:v>161</c:v>
                </c:pt>
                <c:pt idx="47">
                  <c:v>121</c:v>
                </c:pt>
                <c:pt idx="48">
                  <c:v>139</c:v>
                </c:pt>
                <c:pt idx="49">
                  <c:v>159</c:v>
                </c:pt>
                <c:pt idx="50">
                  <c:v>179</c:v>
                </c:pt>
                <c:pt idx="51">
                  <c:v>165</c:v>
                </c:pt>
                <c:pt idx="52">
                  <c:v>162</c:v>
                </c:pt>
                <c:pt idx="53">
                  <c:v>139</c:v>
                </c:pt>
                <c:pt idx="54">
                  <c:v>177</c:v>
                </c:pt>
                <c:pt idx="55">
                  <c:v>199</c:v>
                </c:pt>
                <c:pt idx="56">
                  <c:v>205</c:v>
                </c:pt>
                <c:pt idx="57">
                  <c:v>215</c:v>
                </c:pt>
                <c:pt idx="58">
                  <c:v>254</c:v>
                </c:pt>
                <c:pt idx="59">
                  <c:v>289</c:v>
                </c:pt>
                <c:pt idx="60">
                  <c:v>272</c:v>
                </c:pt>
                <c:pt idx="61">
                  <c:v>301</c:v>
                </c:pt>
                <c:pt idx="62">
                  <c:v>317</c:v>
                </c:pt>
                <c:pt idx="63">
                  <c:v>337</c:v>
                </c:pt>
                <c:pt idx="64">
                  <c:v>417</c:v>
                </c:pt>
                <c:pt idx="65">
                  <c:v>421</c:v>
                </c:pt>
                <c:pt idx="66">
                  <c:v>432</c:v>
                </c:pt>
                <c:pt idx="67">
                  <c:v>523</c:v>
                </c:pt>
                <c:pt idx="68">
                  <c:v>568</c:v>
                </c:pt>
                <c:pt idx="69">
                  <c:v>595</c:v>
                </c:pt>
                <c:pt idx="70">
                  <c:v>542</c:v>
                </c:pt>
                <c:pt idx="71">
                  <c:v>685</c:v>
                </c:pt>
                <c:pt idx="72">
                  <c:v>704</c:v>
                </c:pt>
                <c:pt idx="73">
                  <c:v>741</c:v>
                </c:pt>
                <c:pt idx="74">
                  <c:v>795</c:v>
                </c:pt>
                <c:pt idx="75">
                  <c:v>858</c:v>
                </c:pt>
                <c:pt idx="76">
                  <c:v>851</c:v>
                </c:pt>
                <c:pt idx="77">
                  <c:v>878</c:v>
                </c:pt>
                <c:pt idx="78">
                  <c:v>983</c:v>
                </c:pt>
                <c:pt idx="79">
                  <c:v>949</c:v>
                </c:pt>
                <c:pt idx="80">
                  <c:v>1101</c:v>
                </c:pt>
                <c:pt idx="81">
                  <c:v>1129</c:v>
                </c:pt>
                <c:pt idx="82">
                  <c:v>1161</c:v>
                </c:pt>
                <c:pt idx="83">
                  <c:v>1245</c:v>
                </c:pt>
                <c:pt idx="84">
                  <c:v>1173</c:v>
                </c:pt>
                <c:pt idx="85">
                  <c:v>1156</c:v>
                </c:pt>
                <c:pt idx="86">
                  <c:v>1001</c:v>
                </c:pt>
                <c:pt idx="87">
                  <c:v>884</c:v>
                </c:pt>
                <c:pt idx="88">
                  <c:v>727</c:v>
                </c:pt>
                <c:pt idx="89">
                  <c:v>510</c:v>
                </c:pt>
                <c:pt idx="90">
                  <c:v>404</c:v>
                </c:pt>
                <c:pt idx="91">
                  <c:v>306</c:v>
                </c:pt>
                <c:pt idx="92">
                  <c:v>230</c:v>
                </c:pt>
                <c:pt idx="93">
                  <c:v>149</c:v>
                </c:pt>
                <c:pt idx="94">
                  <c:v>88</c:v>
                </c:pt>
                <c:pt idx="95">
                  <c:v>44</c:v>
                </c:pt>
                <c:pt idx="96">
                  <c:v>28</c:v>
                </c:pt>
                <c:pt idx="97">
                  <c:v>7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Sheet1!$B$2:$B$459</c:f>
              <c:numCache>
                <c:formatCode>#\ ##0_ ;\-#\ ##0\ </c:formatCode>
                <c:ptCount val="458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0</c:v>
                </c:pt>
                <c:pt idx="31">
                  <c:v>60</c:v>
                </c:pt>
                <c:pt idx="32">
                  <c:v>36</c:v>
                </c:pt>
                <c:pt idx="33">
                  <c:v>54</c:v>
                </c:pt>
                <c:pt idx="34">
                  <c:v>164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1</c:v>
                </c:pt>
                <c:pt idx="45">
                  <c:v>206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7</c:v>
                </c:pt>
                <c:pt idx="52">
                  <c:v>415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2</c:v>
                </c:pt>
                <c:pt idx="57">
                  <c:v>260</c:v>
                </c:pt>
                <c:pt idx="58">
                  <c:v>536</c:v>
                </c:pt>
                <c:pt idx="59">
                  <c:v>587</c:v>
                </c:pt>
                <c:pt idx="60">
                  <c:v>336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2</c:v>
                </c:pt>
                <c:pt idx="70">
                  <c:v>385</c:v>
                </c:pt>
                <c:pt idx="71">
                  <c:v>676</c:v>
                </c:pt>
                <c:pt idx="72">
                  <c:v>498</c:v>
                </c:pt>
                <c:pt idx="73">
                  <c:v>481</c:v>
                </c:pt>
                <c:pt idx="74">
                  <c:v>179</c:v>
                </c:pt>
                <c:pt idx="75">
                  <c:v>164</c:v>
                </c:pt>
                <c:pt idx="76">
                  <c:v>382</c:v>
                </c:pt>
                <c:pt idx="77">
                  <c:v>137</c:v>
                </c:pt>
                <c:pt idx="78">
                  <c:v>266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7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3</c:v>
                </c:pt>
                <c:pt idx="92">
                  <c:v>132</c:v>
                </c:pt>
                <c:pt idx="93">
                  <c:v>128</c:v>
                </c:pt>
                <c:pt idx="94">
                  <c:v>141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0</c:v>
                </c:pt>
                <c:pt idx="100">
                  <c:v>83</c:v>
                </c:pt>
                <c:pt idx="101">
                  <c:v>229</c:v>
                </c:pt>
                <c:pt idx="102">
                  <c:v>67</c:v>
                </c:pt>
                <c:pt idx="103">
                  <c:v>49</c:v>
                </c:pt>
                <c:pt idx="104">
                  <c:v>147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13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4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9</c:v>
                </c:pt>
                <c:pt idx="126">
                  <c:v>152</c:v>
                </c:pt>
                <c:pt idx="127">
                  <c:v>164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29</c:v>
                </c:pt>
                <c:pt idx="132">
                  <c:v>238</c:v>
                </c:pt>
                <c:pt idx="133">
                  <c:v>126</c:v>
                </c:pt>
                <c:pt idx="134">
                  <c:v>174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4</c:v>
                </c:pt>
                <c:pt idx="146">
                  <c:v>85</c:v>
                </c:pt>
                <c:pt idx="147">
                  <c:v>41</c:v>
                </c:pt>
                <c:pt idx="148">
                  <c:v>95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2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3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7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8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0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48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29</c:v>
                </c:pt>
                <c:pt idx="435">
                  <c:v>15</c:v>
                </c:pt>
                <c:pt idx="436">
                  <c:v>17</c:v>
                </c:pt>
                <c:pt idx="437">
                  <c:v>17</c:v>
                </c:pt>
                <c:pt idx="438">
                  <c:v>13</c:v>
                </c:pt>
                <c:pt idx="439">
                  <c:v>12</c:v>
                </c:pt>
                <c:pt idx="440">
                  <c:v>41</c:v>
                </c:pt>
                <c:pt idx="441">
                  <c:v>26</c:v>
                </c:pt>
                <c:pt idx="442">
                  <c:v>29</c:v>
                </c:pt>
                <c:pt idx="443">
                  <c:v>59</c:v>
                </c:pt>
                <c:pt idx="444" formatCode="General">
                  <c:v>93</c:v>
                </c:pt>
                <c:pt idx="445" formatCode="General">
                  <c:v>23</c:v>
                </c:pt>
                <c:pt idx="446" formatCode="General">
                  <c:v>14</c:v>
                </c:pt>
                <c:pt idx="447" formatCode="General">
                  <c:v>38</c:v>
                </c:pt>
                <c:pt idx="448" formatCode="General">
                  <c:v>25</c:v>
                </c:pt>
                <c:pt idx="449" formatCode="General">
                  <c:v>36</c:v>
                </c:pt>
                <c:pt idx="450" formatCode="General">
                  <c:v>37</c:v>
                </c:pt>
                <c:pt idx="451" formatCode="General">
                  <c:v>51</c:v>
                </c:pt>
                <c:pt idx="452" formatCode="General">
                  <c:v>8</c:v>
                </c:pt>
                <c:pt idx="453" formatCode="General">
                  <c:v>5</c:v>
                </c:pt>
                <c:pt idx="454" formatCode="General">
                  <c:v>25</c:v>
                </c:pt>
                <c:pt idx="455" formatCode="General">
                  <c:v>21</c:v>
                </c:pt>
                <c:pt idx="456" formatCode="General">
                  <c:v>19</c:v>
                </c:pt>
                <c:pt idx="457" formatCode="General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Sheet1!$B$2:$B$459</c:f>
              <c:numCache>
                <c:formatCode>#\ ##0_ ;\-#\ ##0\ </c:formatCode>
                <c:ptCount val="45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2</c:v>
                </c:pt>
                <c:pt idx="32">
                  <c:v>31</c:v>
                </c:pt>
                <c:pt idx="33">
                  <c:v>29</c:v>
                </c:pt>
                <c:pt idx="34">
                  <c:v>84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6</c:v>
                </c:pt>
                <c:pt idx="39">
                  <c:v>51</c:v>
                </c:pt>
                <c:pt idx="40">
                  <c:v>25</c:v>
                </c:pt>
                <c:pt idx="41">
                  <c:v>156</c:v>
                </c:pt>
                <c:pt idx="42">
                  <c:v>154</c:v>
                </c:pt>
                <c:pt idx="43">
                  <c:v>190</c:v>
                </c:pt>
                <c:pt idx="44">
                  <c:v>197</c:v>
                </c:pt>
                <c:pt idx="45">
                  <c:v>211</c:v>
                </c:pt>
                <c:pt idx="46">
                  <c:v>103</c:v>
                </c:pt>
                <c:pt idx="47">
                  <c:v>48</c:v>
                </c:pt>
                <c:pt idx="48">
                  <c:v>188</c:v>
                </c:pt>
                <c:pt idx="49">
                  <c:v>193</c:v>
                </c:pt>
                <c:pt idx="50">
                  <c:v>257</c:v>
                </c:pt>
                <c:pt idx="51">
                  <c:v>235</c:v>
                </c:pt>
                <c:pt idx="52">
                  <c:v>334</c:v>
                </c:pt>
                <c:pt idx="53">
                  <c:v>187</c:v>
                </c:pt>
                <c:pt idx="54">
                  <c:v>90</c:v>
                </c:pt>
                <c:pt idx="55">
                  <c:v>373</c:v>
                </c:pt>
                <c:pt idx="56">
                  <c:v>396</c:v>
                </c:pt>
                <c:pt idx="57">
                  <c:v>133</c:v>
                </c:pt>
                <c:pt idx="58">
                  <c:v>470</c:v>
                </c:pt>
                <c:pt idx="59">
                  <c:v>332</c:v>
                </c:pt>
                <c:pt idx="60">
                  <c:v>182</c:v>
                </c:pt>
                <c:pt idx="61">
                  <c:v>116</c:v>
                </c:pt>
                <c:pt idx="62">
                  <c:v>297</c:v>
                </c:pt>
                <c:pt idx="63">
                  <c:v>229</c:v>
                </c:pt>
                <c:pt idx="64">
                  <c:v>329</c:v>
                </c:pt>
                <c:pt idx="65">
                  <c:v>278</c:v>
                </c:pt>
                <c:pt idx="66">
                  <c:v>240</c:v>
                </c:pt>
                <c:pt idx="67">
                  <c:v>116</c:v>
                </c:pt>
                <c:pt idx="68">
                  <c:v>48</c:v>
                </c:pt>
                <c:pt idx="69">
                  <c:v>196</c:v>
                </c:pt>
                <c:pt idx="70">
                  <c:v>203</c:v>
                </c:pt>
                <c:pt idx="71">
                  <c:v>262</c:v>
                </c:pt>
                <c:pt idx="72">
                  <c:v>229</c:v>
                </c:pt>
                <c:pt idx="73">
                  <c:v>204</c:v>
                </c:pt>
                <c:pt idx="74">
                  <c:v>72</c:v>
                </c:pt>
                <c:pt idx="75">
                  <c:v>30</c:v>
                </c:pt>
                <c:pt idx="76">
                  <c:v>175</c:v>
                </c:pt>
                <c:pt idx="77">
                  <c:v>46</c:v>
                </c:pt>
                <c:pt idx="78">
                  <c:v>160</c:v>
                </c:pt>
                <c:pt idx="79">
                  <c:v>125</c:v>
                </c:pt>
                <c:pt idx="80">
                  <c:v>120</c:v>
                </c:pt>
                <c:pt idx="81">
                  <c:v>35</c:v>
                </c:pt>
                <c:pt idx="82">
                  <c:v>17</c:v>
                </c:pt>
                <c:pt idx="83">
                  <c:v>138</c:v>
                </c:pt>
                <c:pt idx="84">
                  <c:v>105</c:v>
                </c:pt>
                <c:pt idx="85">
                  <c:v>91</c:v>
                </c:pt>
                <c:pt idx="86">
                  <c:v>55</c:v>
                </c:pt>
                <c:pt idx="87">
                  <c:v>80</c:v>
                </c:pt>
                <c:pt idx="88">
                  <c:v>23</c:v>
                </c:pt>
                <c:pt idx="89">
                  <c:v>15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6</c:v>
                </c:pt>
                <c:pt idx="94">
                  <c:v>89</c:v>
                </c:pt>
                <c:pt idx="95">
                  <c:v>39</c:v>
                </c:pt>
                <c:pt idx="96">
                  <c:v>24</c:v>
                </c:pt>
                <c:pt idx="97">
                  <c:v>119</c:v>
                </c:pt>
                <c:pt idx="98">
                  <c:v>76</c:v>
                </c:pt>
                <c:pt idx="99">
                  <c:v>62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8</c:v>
                </c:pt>
                <c:pt idx="105">
                  <c:v>71</c:v>
                </c:pt>
                <c:pt idx="106">
                  <c:v>94</c:v>
                </c:pt>
                <c:pt idx="107">
                  <c:v>51</c:v>
                </c:pt>
                <c:pt idx="108">
                  <c:v>75</c:v>
                </c:pt>
                <c:pt idx="109">
                  <c:v>27</c:v>
                </c:pt>
                <c:pt idx="110">
                  <c:v>27</c:v>
                </c:pt>
                <c:pt idx="111">
                  <c:v>157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4</c:v>
                </c:pt>
                <c:pt idx="116">
                  <c:v>49</c:v>
                </c:pt>
                <c:pt idx="117">
                  <c:v>46</c:v>
                </c:pt>
                <c:pt idx="118">
                  <c:v>189</c:v>
                </c:pt>
                <c:pt idx="119">
                  <c:v>145</c:v>
                </c:pt>
                <c:pt idx="120">
                  <c:v>111</c:v>
                </c:pt>
                <c:pt idx="121">
                  <c:v>85</c:v>
                </c:pt>
                <c:pt idx="122">
                  <c:v>28</c:v>
                </c:pt>
                <c:pt idx="123">
                  <c:v>57</c:v>
                </c:pt>
                <c:pt idx="124">
                  <c:v>35</c:v>
                </c:pt>
                <c:pt idx="125">
                  <c:v>268</c:v>
                </c:pt>
                <c:pt idx="126">
                  <c:v>143</c:v>
                </c:pt>
                <c:pt idx="127">
                  <c:v>111</c:v>
                </c:pt>
                <c:pt idx="128">
                  <c:v>99</c:v>
                </c:pt>
                <c:pt idx="129">
                  <c:v>120</c:v>
                </c:pt>
                <c:pt idx="130">
                  <c:v>48</c:v>
                </c:pt>
                <c:pt idx="131">
                  <c:v>24</c:v>
                </c:pt>
                <c:pt idx="132">
                  <c:v>227</c:v>
                </c:pt>
                <c:pt idx="133">
                  <c:v>95</c:v>
                </c:pt>
                <c:pt idx="134">
                  <c:v>106</c:v>
                </c:pt>
                <c:pt idx="135">
                  <c:v>53</c:v>
                </c:pt>
                <c:pt idx="136">
                  <c:v>65</c:v>
                </c:pt>
                <c:pt idx="137">
                  <c:v>31</c:v>
                </c:pt>
                <c:pt idx="138">
                  <c:v>26</c:v>
                </c:pt>
                <c:pt idx="139">
                  <c:v>123</c:v>
                </c:pt>
                <c:pt idx="140">
                  <c:v>75</c:v>
                </c:pt>
                <c:pt idx="141">
                  <c:v>71</c:v>
                </c:pt>
                <c:pt idx="142">
                  <c:v>59</c:v>
                </c:pt>
                <c:pt idx="143">
                  <c:v>78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9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79</c:v>
                </c:pt>
                <c:pt idx="154">
                  <c:v>68</c:v>
                </c:pt>
                <c:pt idx="155">
                  <c:v>57</c:v>
                </c:pt>
                <c:pt idx="156">
                  <c:v>42</c:v>
                </c:pt>
                <c:pt idx="157">
                  <c:v>46</c:v>
                </c:pt>
                <c:pt idx="158">
                  <c:v>10</c:v>
                </c:pt>
                <c:pt idx="159">
                  <c:v>17</c:v>
                </c:pt>
                <c:pt idx="160">
                  <c:v>68</c:v>
                </c:pt>
                <c:pt idx="161">
                  <c:v>21</c:v>
                </c:pt>
                <c:pt idx="162">
                  <c:v>33</c:v>
                </c:pt>
                <c:pt idx="163">
                  <c:v>37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2</c:v>
                </c:pt>
                <c:pt idx="168">
                  <c:v>33</c:v>
                </c:pt>
                <c:pt idx="169">
                  <c:v>36</c:v>
                </c:pt>
                <c:pt idx="170">
                  <c:v>28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3</c:v>
                </c:pt>
                <c:pt idx="175">
                  <c:v>44</c:v>
                </c:pt>
                <c:pt idx="176">
                  <c:v>34</c:v>
                </c:pt>
                <c:pt idx="177">
                  <c:v>31</c:v>
                </c:pt>
                <c:pt idx="178">
                  <c:v>38</c:v>
                </c:pt>
                <c:pt idx="179">
                  <c:v>9</c:v>
                </c:pt>
                <c:pt idx="180">
                  <c:v>9</c:v>
                </c:pt>
                <c:pt idx="181">
                  <c:v>55</c:v>
                </c:pt>
                <c:pt idx="182">
                  <c:v>39</c:v>
                </c:pt>
                <c:pt idx="183">
                  <c:v>56</c:v>
                </c:pt>
                <c:pt idx="184">
                  <c:v>38</c:v>
                </c:pt>
                <c:pt idx="185">
                  <c:v>28</c:v>
                </c:pt>
                <c:pt idx="186">
                  <c:v>14</c:v>
                </c:pt>
                <c:pt idx="187">
                  <c:v>9</c:v>
                </c:pt>
                <c:pt idx="188">
                  <c:v>59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29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3</c:v>
                </c:pt>
                <c:pt idx="211">
                  <c:v>13</c:v>
                </c:pt>
                <c:pt idx="212">
                  <c:v>11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6</c:v>
                </c:pt>
                <c:pt idx="238">
                  <c:v>6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7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7</c:v>
                </c:pt>
                <c:pt idx="420">
                  <c:v>5</c:v>
                </c:pt>
                <c:pt idx="421">
                  <c:v>16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0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0</c:v>
                </c:pt>
                <c:pt idx="434">
                  <c:v>25</c:v>
                </c:pt>
                <c:pt idx="435">
                  <c:v>26</c:v>
                </c:pt>
                <c:pt idx="436">
                  <c:v>32</c:v>
                </c:pt>
                <c:pt idx="437">
                  <c:v>32</c:v>
                </c:pt>
                <c:pt idx="438">
                  <c:v>17</c:v>
                </c:pt>
                <c:pt idx="439">
                  <c:v>13</c:v>
                </c:pt>
                <c:pt idx="440">
                  <c:v>50</c:v>
                </c:pt>
                <c:pt idx="441">
                  <c:v>39</c:v>
                </c:pt>
                <c:pt idx="442">
                  <c:v>12</c:v>
                </c:pt>
                <c:pt idx="443">
                  <c:v>41</c:v>
                </c:pt>
                <c:pt idx="444" formatCode="General">
                  <c:v>61</c:v>
                </c:pt>
                <c:pt idx="445" formatCode="General">
                  <c:v>24</c:v>
                </c:pt>
                <c:pt idx="446" formatCode="General">
                  <c:v>8</c:v>
                </c:pt>
                <c:pt idx="447" formatCode="General">
                  <c:v>48</c:v>
                </c:pt>
                <c:pt idx="448" formatCode="General">
                  <c:v>56</c:v>
                </c:pt>
                <c:pt idx="449" formatCode="General">
                  <c:v>57</c:v>
                </c:pt>
                <c:pt idx="450" formatCode="General">
                  <c:v>46</c:v>
                </c:pt>
                <c:pt idx="451" formatCode="General">
                  <c:v>50</c:v>
                </c:pt>
                <c:pt idx="452" formatCode="General">
                  <c:v>21</c:v>
                </c:pt>
                <c:pt idx="453" formatCode="General">
                  <c:v>11</c:v>
                </c:pt>
                <c:pt idx="454" formatCode="General">
                  <c:v>35</c:v>
                </c:pt>
                <c:pt idx="455" formatCode="General">
                  <c:v>52</c:v>
                </c:pt>
                <c:pt idx="456" formatCode="General">
                  <c:v>31</c:v>
                </c:pt>
                <c:pt idx="457" formatCode="General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Sheet1!$B$2:$B$459</c:f>
              <c:numCache>
                <c:formatCode>#\ ##0_ ;\-#\ ##0\ </c:formatCode>
                <c:ptCount val="458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0</c:v>
                </c:pt>
                <c:pt idx="31">
                  <c:v>152</c:v>
                </c:pt>
                <c:pt idx="32">
                  <c:v>67</c:v>
                </c:pt>
                <c:pt idx="33">
                  <c:v>83</c:v>
                </c:pt>
                <c:pt idx="34">
                  <c:v>248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5</c:v>
                </c:pt>
                <c:pt idx="39">
                  <c:v>81</c:v>
                </c:pt>
                <c:pt idx="40">
                  <c:v>36</c:v>
                </c:pt>
                <c:pt idx="41">
                  <c:v>294</c:v>
                </c:pt>
                <c:pt idx="42">
                  <c:v>376</c:v>
                </c:pt>
                <c:pt idx="43">
                  <c:v>371</c:v>
                </c:pt>
                <c:pt idx="44">
                  <c:v>388</c:v>
                </c:pt>
                <c:pt idx="45">
                  <c:v>417</c:v>
                </c:pt>
                <c:pt idx="46">
                  <c:v>258</c:v>
                </c:pt>
                <c:pt idx="47">
                  <c:v>89</c:v>
                </c:pt>
                <c:pt idx="48">
                  <c:v>430</c:v>
                </c:pt>
                <c:pt idx="49">
                  <c:v>393</c:v>
                </c:pt>
                <c:pt idx="50">
                  <c:v>583</c:v>
                </c:pt>
                <c:pt idx="51">
                  <c:v>462</c:v>
                </c:pt>
                <c:pt idx="52">
                  <c:v>749</c:v>
                </c:pt>
                <c:pt idx="53">
                  <c:v>414</c:v>
                </c:pt>
                <c:pt idx="54">
                  <c:v>285</c:v>
                </c:pt>
                <c:pt idx="55">
                  <c:v>760</c:v>
                </c:pt>
                <c:pt idx="56">
                  <c:v>918</c:v>
                </c:pt>
                <c:pt idx="57">
                  <c:v>393</c:v>
                </c:pt>
                <c:pt idx="58">
                  <c:v>1006</c:v>
                </c:pt>
                <c:pt idx="59">
                  <c:v>919</c:v>
                </c:pt>
                <c:pt idx="60">
                  <c:v>518</c:v>
                </c:pt>
                <c:pt idx="61">
                  <c:v>328</c:v>
                </c:pt>
                <c:pt idx="62">
                  <c:v>628</c:v>
                </c:pt>
                <c:pt idx="63">
                  <c:v>561</c:v>
                </c:pt>
                <c:pt idx="64">
                  <c:v>753</c:v>
                </c:pt>
                <c:pt idx="65">
                  <c:v>811</c:v>
                </c:pt>
                <c:pt idx="66">
                  <c:v>728</c:v>
                </c:pt>
                <c:pt idx="67">
                  <c:v>330</c:v>
                </c:pt>
                <c:pt idx="68">
                  <c:v>126</c:v>
                </c:pt>
                <c:pt idx="69">
                  <c:v>398</c:v>
                </c:pt>
                <c:pt idx="70">
                  <c:v>588</c:v>
                </c:pt>
                <c:pt idx="71">
                  <c:v>938</c:v>
                </c:pt>
                <c:pt idx="72">
                  <c:v>727</c:v>
                </c:pt>
                <c:pt idx="73">
                  <c:v>685</c:v>
                </c:pt>
                <c:pt idx="74">
                  <c:v>251</c:v>
                </c:pt>
                <c:pt idx="75">
                  <c:v>194</c:v>
                </c:pt>
                <c:pt idx="76">
                  <c:v>557</c:v>
                </c:pt>
                <c:pt idx="77">
                  <c:v>183</c:v>
                </c:pt>
                <c:pt idx="78">
                  <c:v>426</c:v>
                </c:pt>
                <c:pt idx="79">
                  <c:v>394</c:v>
                </c:pt>
                <c:pt idx="80">
                  <c:v>358</c:v>
                </c:pt>
                <c:pt idx="81">
                  <c:v>129</c:v>
                </c:pt>
                <c:pt idx="82">
                  <c:v>108</c:v>
                </c:pt>
                <c:pt idx="83">
                  <c:v>516</c:v>
                </c:pt>
                <c:pt idx="84">
                  <c:v>303</c:v>
                </c:pt>
                <c:pt idx="85">
                  <c:v>215</c:v>
                </c:pt>
                <c:pt idx="86">
                  <c:v>249</c:v>
                </c:pt>
                <c:pt idx="87">
                  <c:v>217</c:v>
                </c:pt>
                <c:pt idx="88">
                  <c:v>101</c:v>
                </c:pt>
                <c:pt idx="89">
                  <c:v>43</c:v>
                </c:pt>
                <c:pt idx="90">
                  <c:v>318</c:v>
                </c:pt>
                <c:pt idx="91">
                  <c:v>208</c:v>
                </c:pt>
                <c:pt idx="92">
                  <c:v>198</c:v>
                </c:pt>
                <c:pt idx="93">
                  <c:v>184</c:v>
                </c:pt>
                <c:pt idx="94">
                  <c:v>230</c:v>
                </c:pt>
                <c:pt idx="95">
                  <c:v>128</c:v>
                </c:pt>
                <c:pt idx="96">
                  <c:v>44</c:v>
                </c:pt>
                <c:pt idx="97">
                  <c:v>261</c:v>
                </c:pt>
                <c:pt idx="98">
                  <c:v>165</c:v>
                </c:pt>
                <c:pt idx="99">
                  <c:v>202</c:v>
                </c:pt>
                <c:pt idx="100">
                  <c:v>142</c:v>
                </c:pt>
                <c:pt idx="101">
                  <c:v>306</c:v>
                </c:pt>
                <c:pt idx="102">
                  <c:v>88</c:v>
                </c:pt>
                <c:pt idx="103">
                  <c:v>66</c:v>
                </c:pt>
                <c:pt idx="104">
                  <c:v>275</c:v>
                </c:pt>
                <c:pt idx="105">
                  <c:v>204</c:v>
                </c:pt>
                <c:pt idx="106">
                  <c:v>194</c:v>
                </c:pt>
                <c:pt idx="107">
                  <c:v>119</c:v>
                </c:pt>
                <c:pt idx="108">
                  <c:v>288</c:v>
                </c:pt>
                <c:pt idx="109">
                  <c:v>88</c:v>
                </c:pt>
                <c:pt idx="110">
                  <c:v>48</c:v>
                </c:pt>
                <c:pt idx="111">
                  <c:v>335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5</c:v>
                </c:pt>
                <c:pt idx="116">
                  <c:v>127</c:v>
                </c:pt>
                <c:pt idx="117">
                  <c:v>144</c:v>
                </c:pt>
                <c:pt idx="118">
                  <c:v>353</c:v>
                </c:pt>
                <c:pt idx="119">
                  <c:v>330</c:v>
                </c:pt>
                <c:pt idx="120">
                  <c:v>255</c:v>
                </c:pt>
                <c:pt idx="121">
                  <c:v>218</c:v>
                </c:pt>
                <c:pt idx="122">
                  <c:v>93</c:v>
                </c:pt>
                <c:pt idx="123">
                  <c:v>116</c:v>
                </c:pt>
                <c:pt idx="124">
                  <c:v>76</c:v>
                </c:pt>
                <c:pt idx="125">
                  <c:v>537</c:v>
                </c:pt>
                <c:pt idx="126">
                  <c:v>295</c:v>
                </c:pt>
                <c:pt idx="127">
                  <c:v>275</c:v>
                </c:pt>
                <c:pt idx="128">
                  <c:v>331</c:v>
                </c:pt>
                <c:pt idx="129">
                  <c:v>305</c:v>
                </c:pt>
                <c:pt idx="130">
                  <c:v>109</c:v>
                </c:pt>
                <c:pt idx="131">
                  <c:v>53</c:v>
                </c:pt>
                <c:pt idx="132">
                  <c:v>465</c:v>
                </c:pt>
                <c:pt idx="133">
                  <c:v>221</c:v>
                </c:pt>
                <c:pt idx="134">
                  <c:v>280</c:v>
                </c:pt>
                <c:pt idx="135">
                  <c:v>150</c:v>
                </c:pt>
                <c:pt idx="136">
                  <c:v>151</c:v>
                </c:pt>
                <c:pt idx="137">
                  <c:v>66</c:v>
                </c:pt>
                <c:pt idx="138">
                  <c:v>71</c:v>
                </c:pt>
                <c:pt idx="139">
                  <c:v>284</c:v>
                </c:pt>
                <c:pt idx="140">
                  <c:v>154</c:v>
                </c:pt>
                <c:pt idx="141">
                  <c:v>217</c:v>
                </c:pt>
                <c:pt idx="142">
                  <c:v>165</c:v>
                </c:pt>
                <c:pt idx="143">
                  <c:v>192</c:v>
                </c:pt>
                <c:pt idx="144">
                  <c:v>79</c:v>
                </c:pt>
                <c:pt idx="145">
                  <c:v>35</c:v>
                </c:pt>
                <c:pt idx="146">
                  <c:v>174</c:v>
                </c:pt>
                <c:pt idx="147">
                  <c:v>117</c:v>
                </c:pt>
                <c:pt idx="148">
                  <c:v>154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4</c:v>
                </c:pt>
                <c:pt idx="154">
                  <c:v>162</c:v>
                </c:pt>
                <c:pt idx="155">
                  <c:v>159</c:v>
                </c:pt>
                <c:pt idx="156">
                  <c:v>124</c:v>
                </c:pt>
                <c:pt idx="157">
                  <c:v>130</c:v>
                </c:pt>
                <c:pt idx="158">
                  <c:v>52</c:v>
                </c:pt>
                <c:pt idx="159">
                  <c:v>33</c:v>
                </c:pt>
                <c:pt idx="160">
                  <c:v>133</c:v>
                </c:pt>
                <c:pt idx="161">
                  <c:v>87</c:v>
                </c:pt>
                <c:pt idx="162">
                  <c:v>100</c:v>
                </c:pt>
                <c:pt idx="163">
                  <c:v>102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99</c:v>
                </c:pt>
                <c:pt idx="168">
                  <c:v>50</c:v>
                </c:pt>
                <c:pt idx="169">
                  <c:v>66</c:v>
                </c:pt>
                <c:pt idx="170">
                  <c:v>55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2</c:v>
                </c:pt>
                <c:pt idx="175">
                  <c:v>79</c:v>
                </c:pt>
                <c:pt idx="176">
                  <c:v>68</c:v>
                </c:pt>
                <c:pt idx="177">
                  <c:v>77</c:v>
                </c:pt>
                <c:pt idx="178">
                  <c:v>84</c:v>
                </c:pt>
                <c:pt idx="179">
                  <c:v>18</c:v>
                </c:pt>
                <c:pt idx="180">
                  <c:v>12</c:v>
                </c:pt>
                <c:pt idx="181">
                  <c:v>133</c:v>
                </c:pt>
                <c:pt idx="182">
                  <c:v>67</c:v>
                </c:pt>
                <c:pt idx="183">
                  <c:v>102</c:v>
                </c:pt>
                <c:pt idx="184">
                  <c:v>47</c:v>
                </c:pt>
                <c:pt idx="185">
                  <c:v>50</c:v>
                </c:pt>
                <c:pt idx="186">
                  <c:v>19</c:v>
                </c:pt>
                <c:pt idx="187">
                  <c:v>14</c:v>
                </c:pt>
                <c:pt idx="188">
                  <c:v>86</c:v>
                </c:pt>
                <c:pt idx="189">
                  <c:v>110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2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3</c:v>
                </c:pt>
                <c:pt idx="203">
                  <c:v>46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3</c:v>
                </c:pt>
                <c:pt idx="211">
                  <c:v>22</c:v>
                </c:pt>
                <c:pt idx="212">
                  <c:v>20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7</c:v>
                </c:pt>
                <c:pt idx="238">
                  <c:v>9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6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1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1</c:v>
                </c:pt>
                <c:pt idx="420">
                  <c:v>14</c:v>
                </c:pt>
                <c:pt idx="421">
                  <c:v>26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5</c:v>
                </c:pt>
                <c:pt idx="427">
                  <c:v>38</c:v>
                </c:pt>
                <c:pt idx="428">
                  <c:v>35</c:v>
                </c:pt>
                <c:pt idx="429">
                  <c:v>72</c:v>
                </c:pt>
                <c:pt idx="430">
                  <c:v>50</c:v>
                </c:pt>
                <c:pt idx="431" formatCode="General">
                  <c:v>19</c:v>
                </c:pt>
                <c:pt idx="432" formatCode="General">
                  <c:v>10</c:v>
                </c:pt>
                <c:pt idx="433" formatCode="General">
                  <c:v>80</c:v>
                </c:pt>
                <c:pt idx="434" formatCode="General">
                  <c:v>54</c:v>
                </c:pt>
                <c:pt idx="435" formatCode="General">
                  <c:v>41</c:v>
                </c:pt>
                <c:pt idx="436" formatCode="General">
                  <c:v>49</c:v>
                </c:pt>
                <c:pt idx="437" formatCode="General">
                  <c:v>49</c:v>
                </c:pt>
                <c:pt idx="438" formatCode="General">
                  <c:v>30</c:v>
                </c:pt>
                <c:pt idx="439" formatCode="General">
                  <c:v>25</c:v>
                </c:pt>
                <c:pt idx="440" formatCode="General">
                  <c:v>91</c:v>
                </c:pt>
                <c:pt idx="441" formatCode="General">
                  <c:v>65</c:v>
                </c:pt>
                <c:pt idx="442" formatCode="General">
                  <c:v>41</c:v>
                </c:pt>
                <c:pt idx="443" formatCode="General">
                  <c:v>100</c:v>
                </c:pt>
                <c:pt idx="444" formatCode="General">
                  <c:v>154</c:v>
                </c:pt>
                <c:pt idx="445" formatCode="General">
                  <c:v>47</c:v>
                </c:pt>
                <c:pt idx="446" formatCode="General">
                  <c:v>22</c:v>
                </c:pt>
                <c:pt idx="447" formatCode="General">
                  <c:v>86</c:v>
                </c:pt>
                <c:pt idx="448" formatCode="General">
                  <c:v>81</c:v>
                </c:pt>
                <c:pt idx="449" formatCode="General">
                  <c:v>93</c:v>
                </c:pt>
                <c:pt idx="450" formatCode="General">
                  <c:v>83</c:v>
                </c:pt>
                <c:pt idx="451" formatCode="General">
                  <c:v>101</c:v>
                </c:pt>
                <c:pt idx="452" formatCode="General">
                  <c:v>29</c:v>
                </c:pt>
                <c:pt idx="453" formatCode="General">
                  <c:v>16</c:v>
                </c:pt>
                <c:pt idx="454" formatCode="General">
                  <c:v>60</c:v>
                </c:pt>
                <c:pt idx="455" formatCode="General">
                  <c:v>73</c:v>
                </c:pt>
                <c:pt idx="456" formatCode="General">
                  <c:v>50</c:v>
                </c:pt>
                <c:pt idx="457" formatCode="General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9</c:f>
              <c:numCache>
                <c:formatCode>m/d/yyyy</c:formatCode>
                <c:ptCount val="4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</c:numCache>
            </c:numRef>
          </c:cat>
          <c:val>
            <c:numRef>
              <c:f>Sheet1!$B$2:$B$459</c:f>
              <c:numCache>
                <c:formatCode>#\ ##0_ ;\-#\ ##0\ </c:formatCode>
                <c:ptCount val="45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8</c:v>
                </c:pt>
                <c:pt idx="135">
                  <c:v>24</c:v>
                </c:pt>
                <c:pt idx="136">
                  <c:v>22</c:v>
                </c:pt>
                <c:pt idx="137">
                  <c:v>17</c:v>
                </c:pt>
                <c:pt idx="138">
                  <c:v>19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5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 formatCode="General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4</c:v>
                </c:pt>
                <c:pt idx="449">
                  <c:v>3</c:v>
                </c:pt>
                <c:pt idx="450">
                  <c:v>3</c:v>
                </c:pt>
                <c:pt idx="451" formatCode="General">
                  <c:v>12</c:v>
                </c:pt>
                <c:pt idx="452">
                  <c:v>3</c:v>
                </c:pt>
                <c:pt idx="453">
                  <c:v>3</c:v>
                </c:pt>
                <c:pt idx="454">
                  <c:v>4</c:v>
                </c:pt>
                <c:pt idx="455">
                  <c:v>4</c:v>
                </c:pt>
                <c:pt idx="456">
                  <c:v>5</c:v>
                </c:pt>
                <c:pt idx="45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65</c:f>
              <c:numCache>
                <c:formatCode>m/d/yyyy</c:formatCode>
                <c:ptCount val="364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5</c:v>
                </c:pt>
                <c:pt idx="298">
                  <c:v>44466</c:v>
                </c:pt>
                <c:pt idx="299">
                  <c:v>44467</c:v>
                </c:pt>
                <c:pt idx="300">
                  <c:v>44468</c:v>
                </c:pt>
                <c:pt idx="301">
                  <c:v>44469</c:v>
                </c:pt>
                <c:pt idx="302">
                  <c:v>44470</c:v>
                </c:pt>
                <c:pt idx="303">
                  <c:v>44471</c:v>
                </c:pt>
                <c:pt idx="304">
                  <c:v>44472</c:v>
                </c:pt>
                <c:pt idx="305">
                  <c:v>44473</c:v>
                </c:pt>
                <c:pt idx="306">
                  <c:v>44474</c:v>
                </c:pt>
                <c:pt idx="307">
                  <c:v>44475</c:v>
                </c:pt>
                <c:pt idx="308">
                  <c:v>44476</c:v>
                </c:pt>
                <c:pt idx="309">
                  <c:v>44477</c:v>
                </c:pt>
                <c:pt idx="310">
                  <c:v>44478</c:v>
                </c:pt>
                <c:pt idx="311">
                  <c:v>44480</c:v>
                </c:pt>
                <c:pt idx="312">
                  <c:v>44481</c:v>
                </c:pt>
                <c:pt idx="313">
                  <c:v>44482</c:v>
                </c:pt>
                <c:pt idx="314">
                  <c:v>44483</c:v>
                </c:pt>
                <c:pt idx="315">
                  <c:v>44484</c:v>
                </c:pt>
                <c:pt idx="316">
                  <c:v>44485</c:v>
                </c:pt>
                <c:pt idx="317">
                  <c:v>44486</c:v>
                </c:pt>
                <c:pt idx="318">
                  <c:v>44487</c:v>
                </c:pt>
                <c:pt idx="319">
                  <c:v>44488</c:v>
                </c:pt>
                <c:pt idx="320">
                  <c:v>44489</c:v>
                </c:pt>
                <c:pt idx="321">
                  <c:v>44490</c:v>
                </c:pt>
                <c:pt idx="322">
                  <c:v>44491</c:v>
                </c:pt>
                <c:pt idx="323">
                  <c:v>44492</c:v>
                </c:pt>
                <c:pt idx="324">
                  <c:v>44493</c:v>
                </c:pt>
                <c:pt idx="325">
                  <c:v>44494</c:v>
                </c:pt>
                <c:pt idx="326">
                  <c:v>44495</c:v>
                </c:pt>
                <c:pt idx="327">
                  <c:v>44496</c:v>
                </c:pt>
                <c:pt idx="328">
                  <c:v>44497</c:v>
                </c:pt>
                <c:pt idx="329">
                  <c:v>44498</c:v>
                </c:pt>
                <c:pt idx="330">
                  <c:v>44499</c:v>
                </c:pt>
                <c:pt idx="331">
                  <c:v>44500</c:v>
                </c:pt>
                <c:pt idx="332">
                  <c:v>44501</c:v>
                </c:pt>
                <c:pt idx="333">
                  <c:v>44502</c:v>
                </c:pt>
                <c:pt idx="334">
                  <c:v>44503</c:v>
                </c:pt>
                <c:pt idx="335">
                  <c:v>44504</c:v>
                </c:pt>
                <c:pt idx="336">
                  <c:v>44505</c:v>
                </c:pt>
                <c:pt idx="337">
                  <c:v>44506</c:v>
                </c:pt>
                <c:pt idx="338">
                  <c:v>44507</c:v>
                </c:pt>
                <c:pt idx="339">
                  <c:v>44508</c:v>
                </c:pt>
                <c:pt idx="340">
                  <c:v>44509</c:v>
                </c:pt>
                <c:pt idx="341">
                  <c:v>44510</c:v>
                </c:pt>
                <c:pt idx="342">
                  <c:v>44511</c:v>
                </c:pt>
                <c:pt idx="343">
                  <c:v>44512</c:v>
                </c:pt>
                <c:pt idx="344">
                  <c:v>44513</c:v>
                </c:pt>
                <c:pt idx="345">
                  <c:v>44514</c:v>
                </c:pt>
                <c:pt idx="346">
                  <c:v>44515</c:v>
                </c:pt>
                <c:pt idx="347">
                  <c:v>44516</c:v>
                </c:pt>
                <c:pt idx="348">
                  <c:v>44517</c:v>
                </c:pt>
                <c:pt idx="349">
                  <c:v>44518</c:v>
                </c:pt>
                <c:pt idx="350">
                  <c:v>44519</c:v>
                </c:pt>
                <c:pt idx="351">
                  <c:v>44520</c:v>
                </c:pt>
                <c:pt idx="352">
                  <c:v>44521</c:v>
                </c:pt>
                <c:pt idx="353">
                  <c:v>44522</c:v>
                </c:pt>
                <c:pt idx="354">
                  <c:v>44523</c:v>
                </c:pt>
                <c:pt idx="355">
                  <c:v>44524</c:v>
                </c:pt>
                <c:pt idx="356">
                  <c:v>44525</c:v>
                </c:pt>
                <c:pt idx="357">
                  <c:v>44526</c:v>
                </c:pt>
                <c:pt idx="358">
                  <c:v>44527</c:v>
                </c:pt>
                <c:pt idx="359">
                  <c:v>44528</c:v>
                </c:pt>
                <c:pt idx="360">
                  <c:v>44529</c:v>
                </c:pt>
                <c:pt idx="361">
                  <c:v>44530</c:v>
                </c:pt>
                <c:pt idx="362">
                  <c:v>44531</c:v>
                </c:pt>
                <c:pt idx="363">
                  <c:v>44532</c:v>
                </c:pt>
              </c:numCache>
            </c:numRef>
          </c:cat>
          <c:val>
            <c:numRef>
              <c:f>Sheet1!$B$2:$B$365</c:f>
              <c:numCache>
                <c:formatCode>General</c:formatCode>
                <c:ptCount val="364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5</c:v>
                </c:pt>
                <c:pt idx="30">
                  <c:v>15</c:v>
                </c:pt>
                <c:pt idx="31">
                  <c:v>8</c:v>
                </c:pt>
                <c:pt idx="32">
                  <c:v>16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0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3</c:v>
                </c:pt>
                <c:pt idx="46">
                  <c:v>61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9</c:v>
                </c:pt>
                <c:pt idx="52">
                  <c:v>42</c:v>
                </c:pt>
                <c:pt idx="53">
                  <c:v>84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2</c:v>
                </c:pt>
                <c:pt idx="58">
                  <c:v>62</c:v>
                </c:pt>
                <c:pt idx="59">
                  <c:v>64</c:v>
                </c:pt>
                <c:pt idx="60">
                  <c:v>77</c:v>
                </c:pt>
                <c:pt idx="61">
                  <c:v>84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2</c:v>
                </c:pt>
                <c:pt idx="66">
                  <c:v>117</c:v>
                </c:pt>
                <c:pt idx="67">
                  <c:v>91</c:v>
                </c:pt>
                <c:pt idx="68">
                  <c:v>78</c:v>
                </c:pt>
                <c:pt idx="69">
                  <c:v>42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49</c:v>
                </c:pt>
                <c:pt idx="76">
                  <c:v>19</c:v>
                </c:pt>
                <c:pt idx="77">
                  <c:v>13</c:v>
                </c:pt>
                <c:pt idx="78">
                  <c:v>67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7</c:v>
                </c:pt>
                <c:pt idx="83">
                  <c:v>15</c:v>
                </c:pt>
                <c:pt idx="84">
                  <c:v>13</c:v>
                </c:pt>
                <c:pt idx="85">
                  <c:v>41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6</c:v>
                </c:pt>
                <c:pt idx="90">
                  <c:v>20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2</c:v>
                </c:pt>
                <c:pt idx="95">
                  <c:v>24</c:v>
                </c:pt>
                <c:pt idx="96">
                  <c:v>32</c:v>
                </c:pt>
                <c:pt idx="97">
                  <c:v>18</c:v>
                </c:pt>
                <c:pt idx="98">
                  <c:v>24</c:v>
                </c:pt>
                <c:pt idx="99">
                  <c:v>35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30</c:v>
                </c:pt>
                <c:pt idx="107">
                  <c:v>41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1</c:v>
                </c:pt>
                <c:pt idx="121">
                  <c:v>30</c:v>
                </c:pt>
                <c:pt idx="122">
                  <c:v>40</c:v>
                </c:pt>
                <c:pt idx="123">
                  <c:v>39</c:v>
                </c:pt>
                <c:pt idx="124">
                  <c:v>32</c:v>
                </c:pt>
                <c:pt idx="125">
                  <c:v>15</c:v>
                </c:pt>
                <c:pt idx="126">
                  <c:v>8</c:v>
                </c:pt>
                <c:pt idx="127">
                  <c:v>50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2</c:v>
                </c:pt>
                <c:pt idx="142">
                  <c:v>11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4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7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6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7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9</c:v>
                </c:pt>
                <c:pt idx="191">
                  <c:v>9</c:v>
                </c:pt>
                <c:pt idx="192">
                  <c:v>1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6</c:v>
                </c:pt>
                <c:pt idx="198">
                  <c:v>6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2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1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2</c:v>
                </c:pt>
                <c:pt idx="282">
                  <c:v>2</c:v>
                </c:pt>
                <c:pt idx="283">
                  <c:v>1</c:v>
                </c:pt>
                <c:pt idx="284">
                  <c:v>0</c:v>
                </c:pt>
                <c:pt idx="285">
                  <c:v>2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1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3</c:v>
                </c:pt>
                <c:pt idx="308">
                  <c:v>1</c:v>
                </c:pt>
                <c:pt idx="309">
                  <c:v>2</c:v>
                </c:pt>
                <c:pt idx="310">
                  <c:v>0</c:v>
                </c:pt>
                <c:pt idx="311">
                  <c:v>1</c:v>
                </c:pt>
                <c:pt idx="312">
                  <c:v>0</c:v>
                </c:pt>
                <c:pt idx="313">
                  <c:v>3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4</c:v>
                </c:pt>
                <c:pt idx="319">
                  <c:v>0</c:v>
                </c:pt>
                <c:pt idx="320">
                  <c:v>1</c:v>
                </c:pt>
                <c:pt idx="321">
                  <c:v>0</c:v>
                </c:pt>
                <c:pt idx="322">
                  <c:v>2</c:v>
                </c:pt>
                <c:pt idx="323">
                  <c:v>0</c:v>
                </c:pt>
                <c:pt idx="324">
                  <c:v>0</c:v>
                </c:pt>
                <c:pt idx="325">
                  <c:v>4</c:v>
                </c:pt>
                <c:pt idx="326">
                  <c:v>2</c:v>
                </c:pt>
                <c:pt idx="327">
                  <c:v>2</c:v>
                </c:pt>
                <c:pt idx="328">
                  <c:v>0</c:v>
                </c:pt>
                <c:pt idx="329">
                  <c:v>5</c:v>
                </c:pt>
                <c:pt idx="330">
                  <c:v>3</c:v>
                </c:pt>
                <c:pt idx="331">
                  <c:v>2</c:v>
                </c:pt>
                <c:pt idx="332">
                  <c:v>8</c:v>
                </c:pt>
                <c:pt idx="333">
                  <c:v>6</c:v>
                </c:pt>
                <c:pt idx="334">
                  <c:v>5</c:v>
                </c:pt>
                <c:pt idx="335">
                  <c:v>3</c:v>
                </c:pt>
                <c:pt idx="336">
                  <c:v>6</c:v>
                </c:pt>
                <c:pt idx="337">
                  <c:v>1</c:v>
                </c:pt>
                <c:pt idx="338">
                  <c:v>1</c:v>
                </c:pt>
                <c:pt idx="339">
                  <c:v>6</c:v>
                </c:pt>
                <c:pt idx="340">
                  <c:v>7</c:v>
                </c:pt>
                <c:pt idx="341">
                  <c:v>4</c:v>
                </c:pt>
                <c:pt idx="342">
                  <c:v>6</c:v>
                </c:pt>
                <c:pt idx="343">
                  <c:v>2</c:v>
                </c:pt>
                <c:pt idx="344">
                  <c:v>5</c:v>
                </c:pt>
                <c:pt idx="345">
                  <c:v>1</c:v>
                </c:pt>
                <c:pt idx="346">
                  <c:v>7</c:v>
                </c:pt>
                <c:pt idx="347">
                  <c:v>6</c:v>
                </c:pt>
                <c:pt idx="348">
                  <c:v>6</c:v>
                </c:pt>
                <c:pt idx="349">
                  <c:v>12</c:v>
                </c:pt>
                <c:pt idx="350">
                  <c:v>5</c:v>
                </c:pt>
                <c:pt idx="351">
                  <c:v>4</c:v>
                </c:pt>
                <c:pt idx="352">
                  <c:v>3</c:v>
                </c:pt>
                <c:pt idx="353">
                  <c:v>7</c:v>
                </c:pt>
                <c:pt idx="354">
                  <c:v>6</c:v>
                </c:pt>
                <c:pt idx="355">
                  <c:v>14</c:v>
                </c:pt>
                <c:pt idx="356">
                  <c:v>3</c:v>
                </c:pt>
                <c:pt idx="357">
                  <c:v>6</c:v>
                </c:pt>
                <c:pt idx="358">
                  <c:v>0</c:v>
                </c:pt>
                <c:pt idx="359">
                  <c:v>2</c:v>
                </c:pt>
                <c:pt idx="360">
                  <c:v>4</c:v>
                </c:pt>
                <c:pt idx="361">
                  <c:v>3</c:v>
                </c:pt>
                <c:pt idx="362">
                  <c:v>2</c:v>
                </c:pt>
                <c:pt idx="36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U$1</c:f>
              <c:strCache>
                <c:ptCount val="20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</c:strCache>
            </c:strRef>
          </c:cat>
          <c:val>
            <c:numRef>
              <c:f>List1!$B$2:$U$2</c:f>
              <c:numCache>
                <c:formatCode>General</c:formatCode>
                <c:ptCount val="20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1</c:v>
                </c:pt>
                <c:pt idx="18">
                  <c:v>644</c:v>
                </c:pt>
                <c:pt idx="19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65</c:f>
              <c:numCache>
                <c:formatCode>m/d/yyyy</c:formatCode>
                <c:ptCount val="364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5</c:v>
                </c:pt>
                <c:pt idx="298">
                  <c:v>44466</c:v>
                </c:pt>
                <c:pt idx="299">
                  <c:v>44467</c:v>
                </c:pt>
                <c:pt idx="300">
                  <c:v>44468</c:v>
                </c:pt>
                <c:pt idx="301">
                  <c:v>44469</c:v>
                </c:pt>
                <c:pt idx="302">
                  <c:v>44470</c:v>
                </c:pt>
                <c:pt idx="303">
                  <c:v>44471</c:v>
                </c:pt>
                <c:pt idx="304">
                  <c:v>44472</c:v>
                </c:pt>
                <c:pt idx="305">
                  <c:v>44473</c:v>
                </c:pt>
                <c:pt idx="306">
                  <c:v>44474</c:v>
                </c:pt>
                <c:pt idx="307">
                  <c:v>44475</c:v>
                </c:pt>
                <c:pt idx="308">
                  <c:v>44476</c:v>
                </c:pt>
                <c:pt idx="309">
                  <c:v>44477</c:v>
                </c:pt>
                <c:pt idx="310">
                  <c:v>44478</c:v>
                </c:pt>
                <c:pt idx="311">
                  <c:v>44480</c:v>
                </c:pt>
                <c:pt idx="312">
                  <c:v>44481</c:v>
                </c:pt>
                <c:pt idx="313">
                  <c:v>44482</c:v>
                </c:pt>
                <c:pt idx="314">
                  <c:v>44483</c:v>
                </c:pt>
                <c:pt idx="315">
                  <c:v>44484</c:v>
                </c:pt>
                <c:pt idx="316">
                  <c:v>44485</c:v>
                </c:pt>
                <c:pt idx="317">
                  <c:v>44486</c:v>
                </c:pt>
                <c:pt idx="318">
                  <c:v>44487</c:v>
                </c:pt>
                <c:pt idx="319">
                  <c:v>44488</c:v>
                </c:pt>
                <c:pt idx="320">
                  <c:v>44489</c:v>
                </c:pt>
                <c:pt idx="321">
                  <c:v>44490</c:v>
                </c:pt>
                <c:pt idx="322">
                  <c:v>44491</c:v>
                </c:pt>
                <c:pt idx="323">
                  <c:v>44492</c:v>
                </c:pt>
                <c:pt idx="324">
                  <c:v>44493</c:v>
                </c:pt>
                <c:pt idx="325">
                  <c:v>44494</c:v>
                </c:pt>
                <c:pt idx="326">
                  <c:v>44495</c:v>
                </c:pt>
                <c:pt idx="327">
                  <c:v>44496</c:v>
                </c:pt>
                <c:pt idx="328">
                  <c:v>44497</c:v>
                </c:pt>
                <c:pt idx="329">
                  <c:v>44498</c:v>
                </c:pt>
                <c:pt idx="330">
                  <c:v>44499</c:v>
                </c:pt>
                <c:pt idx="331">
                  <c:v>44500</c:v>
                </c:pt>
                <c:pt idx="332">
                  <c:v>44501</c:v>
                </c:pt>
                <c:pt idx="333">
                  <c:v>44502</c:v>
                </c:pt>
                <c:pt idx="334">
                  <c:v>44503</c:v>
                </c:pt>
                <c:pt idx="335">
                  <c:v>44504</c:v>
                </c:pt>
                <c:pt idx="336">
                  <c:v>44505</c:v>
                </c:pt>
                <c:pt idx="337">
                  <c:v>44506</c:v>
                </c:pt>
                <c:pt idx="338">
                  <c:v>44507</c:v>
                </c:pt>
                <c:pt idx="339">
                  <c:v>44508</c:v>
                </c:pt>
                <c:pt idx="340">
                  <c:v>44509</c:v>
                </c:pt>
                <c:pt idx="341">
                  <c:v>44510</c:v>
                </c:pt>
                <c:pt idx="342">
                  <c:v>44511</c:v>
                </c:pt>
                <c:pt idx="343">
                  <c:v>44512</c:v>
                </c:pt>
                <c:pt idx="344">
                  <c:v>44513</c:v>
                </c:pt>
                <c:pt idx="345">
                  <c:v>44514</c:v>
                </c:pt>
                <c:pt idx="346">
                  <c:v>44515</c:v>
                </c:pt>
                <c:pt idx="347">
                  <c:v>44516</c:v>
                </c:pt>
                <c:pt idx="348">
                  <c:v>44517</c:v>
                </c:pt>
                <c:pt idx="349">
                  <c:v>44518</c:v>
                </c:pt>
                <c:pt idx="350">
                  <c:v>44519</c:v>
                </c:pt>
                <c:pt idx="351">
                  <c:v>44520</c:v>
                </c:pt>
                <c:pt idx="352">
                  <c:v>44521</c:v>
                </c:pt>
                <c:pt idx="353">
                  <c:v>44522</c:v>
                </c:pt>
                <c:pt idx="354">
                  <c:v>44523</c:v>
                </c:pt>
                <c:pt idx="355">
                  <c:v>44524</c:v>
                </c:pt>
                <c:pt idx="356">
                  <c:v>44525</c:v>
                </c:pt>
                <c:pt idx="357">
                  <c:v>44526</c:v>
                </c:pt>
                <c:pt idx="358">
                  <c:v>44527</c:v>
                </c:pt>
                <c:pt idx="359">
                  <c:v>44528</c:v>
                </c:pt>
                <c:pt idx="360">
                  <c:v>44529</c:v>
                </c:pt>
                <c:pt idx="361">
                  <c:v>44530</c:v>
                </c:pt>
                <c:pt idx="362">
                  <c:v>44531</c:v>
                </c:pt>
                <c:pt idx="363">
                  <c:v>44532</c:v>
                </c:pt>
              </c:numCache>
            </c:numRef>
          </c:cat>
          <c:val>
            <c:numRef>
              <c:f>Sheet1!$B$2:$B$365</c:f>
              <c:numCache>
                <c:formatCode>General</c:formatCode>
                <c:ptCount val="3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2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8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8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1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1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3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1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0</c:v>
                </c:pt>
                <c:pt idx="331">
                  <c:v>1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1</c:v>
                </c:pt>
                <c:pt idx="339">
                  <c:v>0</c:v>
                </c:pt>
                <c:pt idx="340">
                  <c:v>3</c:v>
                </c:pt>
                <c:pt idx="341">
                  <c:v>0</c:v>
                </c:pt>
                <c:pt idx="342">
                  <c:v>1</c:v>
                </c:pt>
                <c:pt idx="343">
                  <c:v>0</c:v>
                </c:pt>
                <c:pt idx="344">
                  <c:v>2</c:v>
                </c:pt>
                <c:pt idx="345">
                  <c:v>1</c:v>
                </c:pt>
                <c:pt idx="346">
                  <c:v>1</c:v>
                </c:pt>
                <c:pt idx="347">
                  <c:v>1</c:v>
                </c:pt>
                <c:pt idx="348">
                  <c:v>0</c:v>
                </c:pt>
                <c:pt idx="349">
                  <c:v>6</c:v>
                </c:pt>
                <c:pt idx="350">
                  <c:v>2</c:v>
                </c:pt>
                <c:pt idx="351">
                  <c:v>3</c:v>
                </c:pt>
                <c:pt idx="352">
                  <c:v>2</c:v>
                </c:pt>
                <c:pt idx="353">
                  <c:v>1</c:v>
                </c:pt>
                <c:pt idx="354">
                  <c:v>1</c:v>
                </c:pt>
                <c:pt idx="355">
                  <c:v>4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30</c:v>
                </c:pt>
                <c:pt idx="1">
                  <c:v>89</c:v>
                </c:pt>
                <c:pt idx="2">
                  <c:v>107</c:v>
                </c:pt>
                <c:pt idx="3">
                  <c:v>105</c:v>
                </c:pt>
                <c:pt idx="4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7800000000000002</c:v>
                </c:pt>
                <c:pt idx="1">
                  <c:v>0.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1509083454187044E-4"/>
                  <c:y val="-3.77423055378467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1965023312475666"/>
                  <c:y val="-0.161979480220805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1299999999999997</c:v>
                </c:pt>
                <c:pt idx="1">
                  <c:v>0.28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chart" Target="../charts/chart7.xml"/><Relationship Id="rId5" Type="http://schemas.openxmlformats.org/officeDocument/2006/relationships/tags" Target="../tags/tag14.xml"/><Relationship Id="rId10" Type="http://schemas.openxmlformats.org/officeDocument/2006/relationships/chart" Target="../charts/chart6.xml"/><Relationship Id="rId4" Type="http://schemas.openxmlformats.org/officeDocument/2006/relationships/tags" Target="../tags/tag13.xml"/><Relationship Id="rId9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10.xml"/><Relationship Id="rId4" Type="http://schemas.openxmlformats.org/officeDocument/2006/relationships/tags" Target="../tags/tag20.xml"/><Relationship Id="rId9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066289"/>
            <a:ext cx="12191999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28600" y="434210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šíření nákazy v pobytových sociálních službách je ze strany poskytovatelů reprezentativní, celý systém dosahuje více než 81% pokrytí tohoto segmentu péče. Za celé období sledování od podzimu 2020 bylo registrováno téměř 24 000 nakažených klientů a více než 16 700 nakažených pracovníků. Hlášení o úmrtích COVID pozitivních klientů přesáhlo 3 390, pracovníků zemřelo 19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44420" y="2638833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155170" y="3951344"/>
            <a:ext cx="114738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je z těchto individuálních hlášení patrný nárůst počtu nakažených ve srovnání s říjnem 2021. Tato data tedy nezávisle potvrzují nálezy zjištěné epidemiologickými šetřeními ze strany KHS. Za měsíc listopad bylo nahlášeno 959 nákaz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810 nákaz klientů pobytových sociálních služeb. Počet hlášených úmrtí klientů dosáhnu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hodnoty 107. Ačkoli jde o nárůst v čase, stále se jedná o počty významně nižší než v podzimních a zimních měsících 2020 - 2021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2294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578877"/>
              </p:ext>
            </p:ext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2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2. 2021</a:t>
            </a:r>
          </a:p>
        </p:txBody>
      </p:sp>
    </p:spTree>
    <p:extLst>
      <p:ext uri="{BB962C8B-B14F-4D97-AF65-F5344CB8AC3E}">
        <p14:creationId xmlns:p14="http://schemas.microsoft.com/office/powerpoint/2010/main" val="2158377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579455"/>
              </p:ext>
            </p:ext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2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0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20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2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830808"/>
              </p:ext>
            </p:ext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3472634"/>
              </p:ext>
            </p:ext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48747545"/>
              </p:ext>
            </p:ext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33598149"/>
              </p:ext>
            </p:ext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61446392"/>
              </p:ext>
            </p:ext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2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2. 2021</a:t>
            </a:r>
          </a:p>
        </p:txBody>
      </p:sp>
    </p:spTree>
    <p:extLst>
      <p:ext uri="{BB962C8B-B14F-4D97-AF65-F5344CB8AC3E}">
        <p14:creationId xmlns:p14="http://schemas.microsoft.com/office/powerpoint/2010/main" val="27177276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/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9893"/>
              </p:ext>
            </p:ext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196275"/>
              </p:ext>
            </p:ext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5930927"/>
              </p:ext>
            </p:ext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10397846"/>
              </p:ext>
            </p:ext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07315077"/>
              </p:ext>
            </p:ext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44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12. 2021</a:t>
            </a:r>
          </a:p>
        </p:txBody>
      </p:sp>
    </p:spTree>
    <p:extLst>
      <p:ext uri="{BB962C8B-B14F-4D97-AF65-F5344CB8AC3E}">
        <p14:creationId xmlns:p14="http://schemas.microsoft.com/office/powerpoint/2010/main" val="4147288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98861"/>
              </p:ext>
            </p:ext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45436"/>
              </p:ext>
            </p:ext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2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2. 2021</a:t>
            </a:r>
          </a:p>
        </p:txBody>
      </p:sp>
    </p:spTree>
    <p:extLst>
      <p:ext uri="{BB962C8B-B14F-4D97-AF65-F5344CB8AC3E}">
        <p14:creationId xmlns:p14="http://schemas.microsoft.com/office/powerpoint/2010/main" val="41859430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145300"/>
              </p:ext>
            </p:ext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79112"/>
              </p:ext>
            </p:ext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12. 2021</a:t>
            </a:r>
          </a:p>
        </p:txBody>
      </p:sp>
    </p:spTree>
    <p:extLst>
      <p:ext uri="{BB962C8B-B14F-4D97-AF65-F5344CB8AC3E}">
        <p14:creationId xmlns:p14="http://schemas.microsoft.com/office/powerpoint/2010/main" val="651788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5198139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98206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904340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64060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922311"/>
              </p:ext>
            </p:ext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004811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601410"/>
              </p:ext>
            </p:ext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529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858452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8643643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514573"/>
              </p:ext>
            </p:ext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r>
                        <a:rPr lang="cs-CZ" sz="700" dirty="0"/>
                        <a:t>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8406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4284940"/>
              </p:ext>
            </p:ext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6533978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09801"/>
              </p:ext>
            </p:ext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535477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712116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Jde ale o počty, které jsou velmi významně nižší ve srovnání např. </a:t>
            </a: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s počátkem roku 2021.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KHS identifikovaly za říjen 15 ohnisek v sociálních zařízeních (celkem 158 nakažených osob) a za listopad 39 ohnisek s celkem 644 dosud zařazenými nakaženými osobami. </a:t>
            </a: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počty ohnisek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4647999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7AE6CCF-1441-4429-99E4-13DE61805F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389542"/>
              </p:ext>
            </p:extLst>
          </p:nvPr>
        </p:nvGraphicFramePr>
        <p:xfrm>
          <a:off x="1013030" y="5723959"/>
          <a:ext cx="10931340" cy="731520"/>
        </p:xfrm>
        <a:graphic>
          <a:graphicData uri="http://schemas.openxmlformats.org/drawingml/2006/table">
            <a:tbl>
              <a:tblPr/>
              <a:tblGrid>
                <a:gridCol w="130135">
                  <a:extLst>
                    <a:ext uri="{9D8B030D-6E8A-4147-A177-3AD203B41FA5}">
                      <a16:colId xmlns:a16="http://schemas.microsoft.com/office/drawing/2014/main" val="182034120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44099286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56318409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56542783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72321627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23869895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16581518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0490974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57216646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59767751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70879643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16571203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31277680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82901623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63515995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03069076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23770226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53208515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23130592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17939218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23730473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62105225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49173153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6250046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91739188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33312049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20591699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74807256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71333893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42400300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09942113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6870036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802071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557673668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99602827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97523972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8046998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87735967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72070718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184119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823876847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22119045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35839552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21320497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1461682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09666696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82791560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50380251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05914141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71579541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63998601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33724970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84314781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91875098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098386962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341582117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80316320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87428262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926566067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68046200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99102866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16211980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111492798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61740657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50958482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06832635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78128198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60485040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018334278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011381418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43349041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008439258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16900109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589561531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38784530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569584933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573424606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63972348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856009854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52781071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3924979365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2819388849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464686640"/>
                    </a:ext>
                  </a:extLst>
                </a:gridCol>
                <a:gridCol w="130135">
                  <a:extLst>
                    <a:ext uri="{9D8B030D-6E8A-4147-A177-3AD203B41FA5}">
                      <a16:colId xmlns:a16="http://schemas.microsoft.com/office/drawing/2014/main" val="199157451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361026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857938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0900951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3. 12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8703A411-2351-4013-83CF-0C13C30C07DA}"/>
              </a:ext>
            </a:extLst>
          </p:cNvPr>
          <p:cNvSpPr/>
          <p:nvPr/>
        </p:nvSpPr>
        <p:spPr>
          <a:xfrm>
            <a:off x="11744132" y="5984104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3E6CB076-A534-407B-818A-8C31DD33640D}"/>
              </a:ext>
            </a:extLst>
          </p:cNvPr>
          <p:cNvSpPr/>
          <p:nvPr/>
        </p:nvSpPr>
        <p:spPr>
          <a:xfrm>
            <a:off x="10549790" y="3393200"/>
            <a:ext cx="13676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200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131364E-553B-4C2F-8466-03694FBBBF95}"/>
              </a:ext>
            </a:extLst>
          </p:cNvPr>
          <p:cNvSpPr/>
          <p:nvPr/>
        </p:nvSpPr>
        <p:spPr>
          <a:xfrm>
            <a:off x="11748567" y="4167280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982729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55245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29681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33A2912-3B4F-4562-AAF8-7CA9D473A3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42190"/>
              </p:ext>
            </p:extLst>
          </p:nvPr>
        </p:nvGraphicFramePr>
        <p:xfrm>
          <a:off x="7429500" y="5737704"/>
          <a:ext cx="4564860" cy="731520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230395064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22280493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81966599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167618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53845888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49741937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3592035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25184025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11355679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0734536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70134954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90277779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21236278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76781646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711967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40800734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09641069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8932410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15488167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9856589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10922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89246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3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9698585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2/2021 k 3. 1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48484" y="5505680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3. 1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455695"/>
              </p:ext>
            </p:extLst>
          </p:nvPr>
        </p:nvGraphicFramePr>
        <p:xfrm>
          <a:off x="47625" y="989354"/>
          <a:ext cx="6437728" cy="5416275"/>
        </p:xfrm>
        <a:graphic>
          <a:graphicData uri="http://schemas.openxmlformats.org/drawingml/2006/table">
            <a:tbl>
              <a:tblPr/>
              <a:tblGrid>
                <a:gridCol w="58781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 </a:t>
                      </a:r>
                    </a:p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3. 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F5FF4493-5896-469E-A946-07BA40F514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282599"/>
              </p:ext>
            </p:extLst>
          </p:nvPr>
        </p:nvGraphicFramePr>
        <p:xfrm>
          <a:off x="7428791" y="1208860"/>
          <a:ext cx="4564860" cy="469468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360130801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99189364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30185117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6619989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05865835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1922157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48086456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3506753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92415567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42580717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6294313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41212608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52431542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16319475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7463900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6935579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80496274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94768931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89211310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768325911"/>
                    </a:ext>
                  </a:extLst>
                </a:gridCol>
              </a:tblGrid>
              <a:tr h="97789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619661"/>
                  </a:ext>
                </a:extLst>
              </a:tr>
              <a:tr h="3240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156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809721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1B5C5B-AE25-4C24-816A-37AA2B651B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534392"/>
              </p:ext>
            </p:extLst>
          </p:nvPr>
        </p:nvGraphicFramePr>
        <p:xfrm>
          <a:off x="8770575" y="901702"/>
          <a:ext cx="706799" cy="5614806"/>
        </p:xfrm>
        <a:graphic>
          <a:graphicData uri="http://schemas.openxmlformats.org/drawingml/2006/table">
            <a:tbl>
              <a:tblPr/>
              <a:tblGrid>
                <a:gridCol w="706799">
                  <a:extLst>
                    <a:ext uri="{9D8B030D-6E8A-4147-A177-3AD203B41FA5}">
                      <a16:colId xmlns:a16="http://schemas.microsoft.com/office/drawing/2014/main" val="559004365"/>
                    </a:ext>
                  </a:extLst>
                </a:gridCol>
              </a:tblGrid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51863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89905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26407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26471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25070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76945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02739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91727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30575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00670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33191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59699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029518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15897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15343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18079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70530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1291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94585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8522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084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0217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33731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51392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40573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62528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50876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19633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68190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3. 12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6115113"/>
              </p:ext>
            </p:extLst>
          </p:nvPr>
        </p:nvGraphicFramePr>
        <p:xfrm>
          <a:off x="1093233" y="681680"/>
          <a:ext cx="8958646" cy="583484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412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4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 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85965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9B121FA-9935-4423-B922-4AB9568EAB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287272"/>
              </p:ext>
            </p:extLst>
          </p:nvPr>
        </p:nvGraphicFramePr>
        <p:xfrm>
          <a:off x="8714377" y="1092199"/>
          <a:ext cx="839198" cy="5424328"/>
        </p:xfrm>
        <a:graphic>
          <a:graphicData uri="http://schemas.openxmlformats.org/drawingml/2006/table">
            <a:tbl>
              <a:tblPr/>
              <a:tblGrid>
                <a:gridCol w="839198">
                  <a:extLst>
                    <a:ext uri="{9D8B030D-6E8A-4147-A177-3AD203B41FA5}">
                      <a16:colId xmlns:a16="http://schemas.microsoft.com/office/drawing/2014/main" val="4048622661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08671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82794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1867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36300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89783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4972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93894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30829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34489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8813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70137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58919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004763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7432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98408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8531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25228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96711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67501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05149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02639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6733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56606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1014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2622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28535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10620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26305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3. 12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666743"/>
              </p:ext>
            </p:extLst>
          </p:nvPr>
        </p:nvGraphicFramePr>
        <p:xfrm>
          <a:off x="1104900" y="660914"/>
          <a:ext cx="8958646" cy="5860965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088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943 (11 97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47 (1 14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88 (9 40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90 (97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315 (5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1 (3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33 (29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0 (1 28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5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6 (5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3 (8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(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9 (10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2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 (5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814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298653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3. 12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 k 3. 12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246436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297692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BAE1A52-4750-4BC3-912D-70154DAF6174}"/>
              </a:ext>
            </a:extLst>
          </p:cNvPr>
          <p:cNvSpPr/>
          <p:nvPr/>
        </p:nvSpPr>
        <p:spPr>
          <a:xfrm>
            <a:off x="10359541" y="1607162"/>
            <a:ext cx="15579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400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20CE13C-8026-45B6-BDF5-CAEF0DC0608D}"/>
              </a:ext>
            </a:extLst>
          </p:cNvPr>
          <p:cNvSpPr/>
          <p:nvPr/>
        </p:nvSpPr>
        <p:spPr>
          <a:xfrm>
            <a:off x="11331729" y="3267314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15B5475-423B-4202-A225-095C6040464C}"/>
              </a:ext>
            </a:extLst>
          </p:cNvPr>
          <p:cNvSpPr/>
          <p:nvPr/>
        </p:nvSpPr>
        <p:spPr>
          <a:xfrm>
            <a:off x="11331729" y="5856835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3699466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5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5324912"/>
              </p:ext>
            </p:extLst>
          </p:nvPr>
        </p:nvGraphicFramePr>
        <p:xfrm>
          <a:off x="1372685" y="1009673"/>
          <a:ext cx="9684753" cy="530708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86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5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11. – 3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3. 12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527425"/>
              </p:ext>
            </p:extLst>
          </p:nvPr>
        </p:nvGraphicFramePr>
        <p:xfrm>
          <a:off x="1372685" y="1009673"/>
          <a:ext cx="9684753" cy="536641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37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3409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167362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1158918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5468305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2918779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860963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449182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16820300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2383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8744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031</TotalTime>
  <Words>13693</Words>
  <Application>Microsoft Office PowerPoint</Application>
  <PresentationFormat>Širokoúhlá obrazovka</PresentationFormat>
  <Paragraphs>5895</Paragraphs>
  <Slides>5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5</vt:i4>
      </vt:variant>
    </vt:vector>
  </HeadingPairs>
  <TitlesOfParts>
    <vt:vector size="59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526</cp:revision>
  <dcterms:created xsi:type="dcterms:W3CDTF">2020-11-14T10:09:00Z</dcterms:created>
  <dcterms:modified xsi:type="dcterms:W3CDTF">2021-12-04T18:20:59Z</dcterms:modified>
</cp:coreProperties>
</file>